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EC033C-D546-4E17-BC4A-EE213DD5A99F}" v="18" dt="2024-09-14T05:38:12.7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Dhruw, Kabir SBOBNG-PTIV/LC" userId="b937d6d8-898d-4cbe-9fd6-c82dbbaafd5f" providerId="ADAL" clId="{67EC033C-D546-4E17-BC4A-EE213DD5A99F}"/>
    <pc:docChg chg="custSel modSld">
      <pc:chgData name="Dhruw, Kabir SBOBNG-PTIV/LC" userId="b937d6d8-898d-4cbe-9fd6-c82dbbaafd5f" providerId="ADAL" clId="{67EC033C-D546-4E17-BC4A-EE213DD5A99F}" dt="2024-09-14T05:38:39.185" v="972" actId="20577"/>
      <pc:docMkLst>
        <pc:docMk/>
      </pc:docMkLst>
      <pc:sldChg chg="modSp mod">
        <pc:chgData name="Dhruw, Kabir SBOBNG-PTIV/LC" userId="b937d6d8-898d-4cbe-9fd6-c82dbbaafd5f" providerId="ADAL" clId="{67EC033C-D546-4E17-BC4A-EE213DD5A99F}" dt="2024-09-14T03:27:41.348" v="7" actId="20577"/>
        <pc:sldMkLst>
          <pc:docMk/>
          <pc:sldMk cId="3267775274" sldId="256"/>
        </pc:sldMkLst>
        <pc:spChg chg="mod">
          <ac:chgData name="Dhruw, Kabir SBOBNG-PTIV/LC" userId="b937d6d8-898d-4cbe-9fd6-c82dbbaafd5f" providerId="ADAL" clId="{67EC033C-D546-4E17-BC4A-EE213DD5A99F}" dt="2024-09-14T03:27:41.348" v="7" actId="20577"/>
          <ac:spMkLst>
            <pc:docMk/>
            <pc:sldMk cId="3267775274" sldId="256"/>
            <ac:spMk id="6" creationId="{0C37A4A8-A3C7-407F-B123-88E2E165C827}"/>
          </ac:spMkLst>
        </pc:spChg>
        <pc:spChg chg="mod">
          <ac:chgData name="Dhruw, Kabir SBOBNG-PTIV/LC" userId="b937d6d8-898d-4cbe-9fd6-c82dbbaafd5f" providerId="ADAL" clId="{67EC033C-D546-4E17-BC4A-EE213DD5A99F}" dt="2024-09-14T03:27:32.479" v="3" actId="20577"/>
          <ac:spMkLst>
            <pc:docMk/>
            <pc:sldMk cId="3267775274" sldId="256"/>
            <ac:spMk id="13" creationId="{C48F8DD6-A1B3-8126-FAC3-218B712C7FFB}"/>
          </ac:spMkLst>
        </pc:spChg>
      </pc:sldChg>
      <pc:sldChg chg="addSp delSp modSp mod">
        <pc:chgData name="Dhruw, Kabir SBOBNG-PTIV/LC" userId="b937d6d8-898d-4cbe-9fd6-c82dbbaafd5f" providerId="ADAL" clId="{67EC033C-D546-4E17-BC4A-EE213DD5A99F}" dt="2024-09-14T05:27:24.370" v="871" actId="1076"/>
        <pc:sldMkLst>
          <pc:docMk/>
          <pc:sldMk cId="245881457" sldId="2147375597"/>
        </pc:sldMkLst>
        <pc:spChg chg="mod">
          <ac:chgData name="Dhruw, Kabir SBOBNG-PTIV/LC" userId="b937d6d8-898d-4cbe-9fd6-c82dbbaafd5f" providerId="ADAL" clId="{67EC033C-D546-4E17-BC4A-EE213DD5A99F}" dt="2024-09-14T03:30:18.109" v="30"/>
          <ac:spMkLst>
            <pc:docMk/>
            <pc:sldMk cId="245881457" sldId="2147375597"/>
            <ac:spMk id="11" creationId="{DE9F1BE0-7910-FA1B-DCE8-56EFD1E4FC09}"/>
          </ac:spMkLst>
        </pc:spChg>
        <pc:picChg chg="del">
          <ac:chgData name="Dhruw, Kabir SBOBNG-PTIV/LC" userId="b937d6d8-898d-4cbe-9fd6-c82dbbaafd5f" providerId="ADAL" clId="{67EC033C-D546-4E17-BC4A-EE213DD5A99F}" dt="2024-09-14T05:27:06.569" v="865" actId="478"/>
          <ac:picMkLst>
            <pc:docMk/>
            <pc:sldMk cId="245881457" sldId="2147375597"/>
            <ac:picMk id="5" creationId="{162204CB-E4F8-52CC-1A9A-4CDE87E130AB}"/>
          </ac:picMkLst>
        </pc:picChg>
        <pc:picChg chg="add mod">
          <ac:chgData name="Dhruw, Kabir SBOBNG-PTIV/LC" userId="b937d6d8-898d-4cbe-9fd6-c82dbbaafd5f" providerId="ADAL" clId="{67EC033C-D546-4E17-BC4A-EE213DD5A99F}" dt="2024-09-14T05:27:24.370" v="871" actId="1076"/>
          <ac:picMkLst>
            <pc:docMk/>
            <pc:sldMk cId="245881457" sldId="2147375597"/>
            <ac:picMk id="6" creationId="{B12A6FFD-1111-2C35-02D3-14A1E6D0E800}"/>
          </ac:picMkLst>
        </pc:picChg>
      </pc:sldChg>
      <pc:sldChg chg="addSp delSp modSp mod">
        <pc:chgData name="Dhruw, Kabir SBOBNG-PTIV/LC" userId="b937d6d8-898d-4cbe-9fd6-c82dbbaafd5f" providerId="ADAL" clId="{67EC033C-D546-4E17-BC4A-EE213DD5A99F}" dt="2024-09-14T05:28:28.429" v="878" actId="962"/>
        <pc:sldMkLst>
          <pc:docMk/>
          <pc:sldMk cId="1181112711" sldId="2147375600"/>
        </pc:sldMkLst>
        <pc:spChg chg="mod">
          <ac:chgData name="Dhruw, Kabir SBOBNG-PTIV/LC" userId="b937d6d8-898d-4cbe-9fd6-c82dbbaafd5f" providerId="ADAL" clId="{67EC033C-D546-4E17-BC4A-EE213DD5A99F}" dt="2024-09-14T03:34:50.008" v="45" actId="20577"/>
          <ac:spMkLst>
            <pc:docMk/>
            <pc:sldMk cId="1181112711" sldId="2147375600"/>
            <ac:spMk id="11" creationId="{DE9F1BE0-7910-FA1B-DCE8-56EFD1E4FC09}"/>
          </ac:spMkLst>
        </pc:spChg>
        <pc:picChg chg="add mod">
          <ac:chgData name="Dhruw, Kabir SBOBNG-PTIV/LC" userId="b937d6d8-898d-4cbe-9fd6-c82dbbaafd5f" providerId="ADAL" clId="{67EC033C-D546-4E17-BC4A-EE213DD5A99F}" dt="2024-09-14T05:28:28.429" v="878" actId="962"/>
          <ac:picMkLst>
            <pc:docMk/>
            <pc:sldMk cId="1181112711" sldId="2147375600"/>
            <ac:picMk id="5" creationId="{B60E5844-AC23-5657-09D9-6341F619D132}"/>
          </ac:picMkLst>
        </pc:picChg>
        <pc:picChg chg="del">
          <ac:chgData name="Dhruw, Kabir SBOBNG-PTIV/LC" userId="b937d6d8-898d-4cbe-9fd6-c82dbbaafd5f" providerId="ADAL" clId="{67EC033C-D546-4E17-BC4A-EE213DD5A99F}" dt="2024-09-14T05:28:14.618" v="872" actId="478"/>
          <ac:picMkLst>
            <pc:docMk/>
            <pc:sldMk cId="1181112711" sldId="2147375600"/>
            <ac:picMk id="6" creationId="{BBDCB883-410E-1C62-8185-C4BD8BAC1567}"/>
          </ac:picMkLst>
        </pc:picChg>
      </pc:sldChg>
      <pc:sldChg chg="addSp delSp modSp mod">
        <pc:chgData name="Dhruw, Kabir SBOBNG-PTIV/LC" userId="b937d6d8-898d-4cbe-9fd6-c82dbbaafd5f" providerId="ADAL" clId="{67EC033C-D546-4E17-BC4A-EE213DD5A99F}" dt="2024-09-14T05:29:48.418" v="886" actId="1076"/>
        <pc:sldMkLst>
          <pc:docMk/>
          <pc:sldMk cId="3233747587" sldId="2147375601"/>
        </pc:sldMkLst>
        <pc:spChg chg="add">
          <ac:chgData name="Dhruw, Kabir SBOBNG-PTIV/LC" userId="b937d6d8-898d-4cbe-9fd6-c82dbbaafd5f" providerId="ADAL" clId="{67EC033C-D546-4E17-BC4A-EE213DD5A99F}" dt="2024-09-14T03:37:49.953" v="48"/>
          <ac:spMkLst>
            <pc:docMk/>
            <pc:sldMk cId="3233747587" sldId="2147375601"/>
            <ac:spMk id="2" creationId="{E61AB7C5-8E1D-F2A9-76A8-87D68FAA1D4B}"/>
          </ac:spMkLst>
        </pc:spChg>
        <pc:spChg chg="add">
          <ac:chgData name="Dhruw, Kabir SBOBNG-PTIV/LC" userId="b937d6d8-898d-4cbe-9fd6-c82dbbaafd5f" providerId="ADAL" clId="{67EC033C-D546-4E17-BC4A-EE213DD5A99F}" dt="2024-09-14T03:37:53.490" v="50"/>
          <ac:spMkLst>
            <pc:docMk/>
            <pc:sldMk cId="3233747587" sldId="2147375601"/>
            <ac:spMk id="5" creationId="{511EDADC-4A26-7882-8299-ED270BAE51F3}"/>
          </ac:spMkLst>
        </pc:spChg>
        <pc:spChg chg="mod">
          <ac:chgData name="Dhruw, Kabir SBOBNG-PTIV/LC" userId="b937d6d8-898d-4cbe-9fd6-c82dbbaafd5f" providerId="ADAL" clId="{67EC033C-D546-4E17-BC4A-EE213DD5A99F}" dt="2024-09-14T03:38:05.693" v="52" actId="20577"/>
          <ac:spMkLst>
            <pc:docMk/>
            <pc:sldMk cId="3233747587" sldId="2147375601"/>
            <ac:spMk id="11" creationId="{DE9F1BE0-7910-FA1B-DCE8-56EFD1E4FC09}"/>
          </ac:spMkLst>
        </pc:spChg>
        <pc:picChg chg="del">
          <ac:chgData name="Dhruw, Kabir SBOBNG-PTIV/LC" userId="b937d6d8-898d-4cbe-9fd6-c82dbbaafd5f" providerId="ADAL" clId="{67EC033C-D546-4E17-BC4A-EE213DD5A99F}" dt="2024-09-14T05:28:30.766" v="879" actId="478"/>
          <ac:picMkLst>
            <pc:docMk/>
            <pc:sldMk cId="3233747587" sldId="2147375601"/>
            <ac:picMk id="6" creationId="{D6F6AD89-CF3B-68D2-FCBD-86484A89336D}"/>
          </ac:picMkLst>
        </pc:picChg>
        <pc:picChg chg="add mod">
          <ac:chgData name="Dhruw, Kabir SBOBNG-PTIV/LC" userId="b937d6d8-898d-4cbe-9fd6-c82dbbaafd5f" providerId="ADAL" clId="{67EC033C-D546-4E17-BC4A-EE213DD5A99F}" dt="2024-09-14T05:29:48.418" v="886" actId="1076"/>
          <ac:picMkLst>
            <pc:docMk/>
            <pc:sldMk cId="3233747587" sldId="2147375601"/>
            <ac:picMk id="13" creationId="{F631ECD4-C343-EC80-7637-CA51A4EE2AD9}"/>
          </ac:picMkLst>
        </pc:picChg>
      </pc:sldChg>
      <pc:sldChg chg="addSp delSp modSp mod">
        <pc:chgData name="Dhruw, Kabir SBOBNG-PTIV/LC" userId="b937d6d8-898d-4cbe-9fd6-c82dbbaafd5f" providerId="ADAL" clId="{67EC033C-D546-4E17-BC4A-EE213DD5A99F}" dt="2024-09-14T05:31:56.432" v="906" actId="1076"/>
        <pc:sldMkLst>
          <pc:docMk/>
          <pc:sldMk cId="3971512377" sldId="2147375603"/>
        </pc:sldMkLst>
        <pc:spChg chg="mod">
          <ac:chgData name="Dhruw, Kabir SBOBNG-PTIV/LC" userId="b937d6d8-898d-4cbe-9fd6-c82dbbaafd5f" providerId="ADAL" clId="{67EC033C-D546-4E17-BC4A-EE213DD5A99F}" dt="2024-09-14T03:31:43.902" v="37" actId="403"/>
          <ac:spMkLst>
            <pc:docMk/>
            <pc:sldMk cId="3971512377" sldId="2147375603"/>
            <ac:spMk id="11" creationId="{DE9F1BE0-7910-FA1B-DCE8-56EFD1E4FC09}"/>
          </ac:spMkLst>
        </pc:spChg>
        <pc:picChg chg="add mod">
          <ac:chgData name="Dhruw, Kabir SBOBNG-PTIV/LC" userId="b937d6d8-898d-4cbe-9fd6-c82dbbaafd5f" providerId="ADAL" clId="{67EC033C-D546-4E17-BC4A-EE213DD5A99F}" dt="2024-09-14T05:31:56.432" v="906" actId="1076"/>
          <ac:picMkLst>
            <pc:docMk/>
            <pc:sldMk cId="3971512377" sldId="2147375603"/>
            <ac:picMk id="6" creationId="{BBCF33F2-F1F7-E59E-88F9-39A5881474E1}"/>
          </ac:picMkLst>
        </pc:picChg>
        <pc:picChg chg="del">
          <ac:chgData name="Dhruw, Kabir SBOBNG-PTIV/LC" userId="b937d6d8-898d-4cbe-9fd6-c82dbbaafd5f" providerId="ADAL" clId="{67EC033C-D546-4E17-BC4A-EE213DD5A99F}" dt="2024-09-14T05:31:42.206" v="900" actId="478"/>
          <ac:picMkLst>
            <pc:docMk/>
            <pc:sldMk cId="3971512377" sldId="2147375603"/>
            <ac:picMk id="8" creationId="{D9CF7C67-8A12-AFF3-BD7C-A58B2FEA357B}"/>
          </ac:picMkLst>
        </pc:picChg>
      </pc:sldChg>
      <pc:sldChg chg="addSp delSp modSp mod">
        <pc:chgData name="Dhruw, Kabir SBOBNG-PTIV/LC" userId="b937d6d8-898d-4cbe-9fd6-c82dbbaafd5f" providerId="ADAL" clId="{67EC033C-D546-4E17-BC4A-EE213DD5A99F}" dt="2024-09-14T05:31:19.357" v="899" actId="14100"/>
        <pc:sldMkLst>
          <pc:docMk/>
          <pc:sldMk cId="3179805674" sldId="2147375604"/>
        </pc:sldMkLst>
        <pc:spChg chg="mod">
          <ac:chgData name="Dhruw, Kabir SBOBNG-PTIV/LC" userId="b937d6d8-898d-4cbe-9fd6-c82dbbaafd5f" providerId="ADAL" clId="{67EC033C-D546-4E17-BC4A-EE213DD5A99F}" dt="2024-09-14T03:36:00.319" v="46"/>
          <ac:spMkLst>
            <pc:docMk/>
            <pc:sldMk cId="3179805674" sldId="2147375604"/>
            <ac:spMk id="11" creationId="{DE9F1BE0-7910-FA1B-DCE8-56EFD1E4FC09}"/>
          </ac:spMkLst>
        </pc:spChg>
        <pc:picChg chg="add mod">
          <ac:chgData name="Dhruw, Kabir SBOBNG-PTIV/LC" userId="b937d6d8-898d-4cbe-9fd6-c82dbbaafd5f" providerId="ADAL" clId="{67EC033C-D546-4E17-BC4A-EE213DD5A99F}" dt="2024-09-14T05:31:19.357" v="899" actId="14100"/>
          <ac:picMkLst>
            <pc:docMk/>
            <pc:sldMk cId="3179805674" sldId="2147375604"/>
            <ac:picMk id="6" creationId="{A2758902-E56D-80E1-CA26-E87076C95308}"/>
          </ac:picMkLst>
        </pc:picChg>
        <pc:picChg chg="del">
          <ac:chgData name="Dhruw, Kabir SBOBNG-PTIV/LC" userId="b937d6d8-898d-4cbe-9fd6-c82dbbaafd5f" providerId="ADAL" clId="{67EC033C-D546-4E17-BC4A-EE213DD5A99F}" dt="2024-09-14T05:30:34.704" v="893" actId="478"/>
          <ac:picMkLst>
            <pc:docMk/>
            <pc:sldMk cId="3179805674" sldId="2147375604"/>
            <ac:picMk id="8" creationId="{C32D8F2D-7893-1160-0237-670673DDB4F9}"/>
          </ac:picMkLst>
        </pc:picChg>
      </pc:sldChg>
      <pc:sldChg chg="addSp delSp modSp mod">
        <pc:chgData name="Dhruw, Kabir SBOBNG-PTIV/LC" userId="b937d6d8-898d-4cbe-9fd6-c82dbbaafd5f" providerId="ADAL" clId="{67EC033C-D546-4E17-BC4A-EE213DD5A99F}" dt="2024-09-14T05:30:32.164" v="892" actId="1076"/>
        <pc:sldMkLst>
          <pc:docMk/>
          <pc:sldMk cId="86366928" sldId="2147375605"/>
        </pc:sldMkLst>
        <pc:spChg chg="add">
          <ac:chgData name="Dhruw, Kabir SBOBNG-PTIV/LC" userId="b937d6d8-898d-4cbe-9fd6-c82dbbaafd5f" providerId="ADAL" clId="{67EC033C-D546-4E17-BC4A-EE213DD5A99F}" dt="2024-09-14T03:38:52.542" v="53"/>
          <ac:spMkLst>
            <pc:docMk/>
            <pc:sldMk cId="86366928" sldId="2147375605"/>
            <ac:spMk id="2" creationId="{96CC0242-641D-2AA6-3E92-E2F3646F658B}"/>
          </ac:spMkLst>
        </pc:spChg>
        <pc:spChg chg="add">
          <ac:chgData name="Dhruw, Kabir SBOBNG-PTIV/LC" userId="b937d6d8-898d-4cbe-9fd6-c82dbbaafd5f" providerId="ADAL" clId="{67EC033C-D546-4E17-BC4A-EE213DD5A99F}" dt="2024-09-14T03:38:55.206" v="55"/>
          <ac:spMkLst>
            <pc:docMk/>
            <pc:sldMk cId="86366928" sldId="2147375605"/>
            <ac:spMk id="6" creationId="{4E806CEA-7416-38FC-EC5E-F095FD57480B}"/>
          </ac:spMkLst>
        </pc:spChg>
        <pc:spChg chg="mod">
          <ac:chgData name="Dhruw, Kabir SBOBNG-PTIV/LC" userId="b937d6d8-898d-4cbe-9fd6-c82dbbaafd5f" providerId="ADAL" clId="{67EC033C-D546-4E17-BC4A-EE213DD5A99F}" dt="2024-09-14T03:39:58.762" v="63" actId="20577"/>
          <ac:spMkLst>
            <pc:docMk/>
            <pc:sldMk cId="86366928" sldId="2147375605"/>
            <ac:spMk id="11" creationId="{DE9F1BE0-7910-FA1B-DCE8-56EFD1E4FC09}"/>
          </ac:spMkLst>
        </pc:spChg>
        <pc:picChg chg="del">
          <ac:chgData name="Dhruw, Kabir SBOBNG-PTIV/LC" userId="b937d6d8-898d-4cbe-9fd6-c82dbbaafd5f" providerId="ADAL" clId="{67EC033C-D546-4E17-BC4A-EE213DD5A99F}" dt="2024-09-14T05:30:18.546" v="887" actId="478"/>
          <ac:picMkLst>
            <pc:docMk/>
            <pc:sldMk cId="86366928" sldId="2147375605"/>
            <ac:picMk id="8" creationId="{FD8D0771-6278-7EF2-130A-192ADC183937}"/>
          </ac:picMkLst>
        </pc:picChg>
        <pc:picChg chg="add mod">
          <ac:chgData name="Dhruw, Kabir SBOBNG-PTIV/LC" userId="b937d6d8-898d-4cbe-9fd6-c82dbbaafd5f" providerId="ADAL" clId="{67EC033C-D546-4E17-BC4A-EE213DD5A99F}" dt="2024-09-14T05:30:32.164" v="892" actId="1076"/>
          <ac:picMkLst>
            <pc:docMk/>
            <pc:sldMk cId="86366928" sldId="2147375605"/>
            <ac:picMk id="13" creationId="{04F6F640-6064-D765-7B55-FFCDB157B08C}"/>
          </ac:picMkLst>
        </pc:picChg>
      </pc:sldChg>
      <pc:sldChg chg="addSp delSp modSp mod">
        <pc:chgData name="Dhruw, Kabir SBOBNG-PTIV/LC" userId="b937d6d8-898d-4cbe-9fd6-c82dbbaafd5f" providerId="ADAL" clId="{67EC033C-D546-4E17-BC4A-EE213DD5A99F}" dt="2024-09-14T05:32:47.093" v="910" actId="27614"/>
        <pc:sldMkLst>
          <pc:docMk/>
          <pc:sldMk cId="2340944189" sldId="2147375607"/>
        </pc:sldMkLst>
        <pc:spChg chg="mod">
          <ac:chgData name="Dhruw, Kabir SBOBNG-PTIV/LC" userId="b937d6d8-898d-4cbe-9fd6-c82dbbaafd5f" providerId="ADAL" clId="{67EC033C-D546-4E17-BC4A-EE213DD5A99F}" dt="2024-09-14T03:32:48.987" v="38"/>
          <ac:spMkLst>
            <pc:docMk/>
            <pc:sldMk cId="2340944189" sldId="2147375607"/>
            <ac:spMk id="11" creationId="{DE9F1BE0-7910-FA1B-DCE8-56EFD1E4FC09}"/>
          </ac:spMkLst>
        </pc:spChg>
        <pc:picChg chg="add mod">
          <ac:chgData name="Dhruw, Kabir SBOBNG-PTIV/LC" userId="b937d6d8-898d-4cbe-9fd6-c82dbbaafd5f" providerId="ADAL" clId="{67EC033C-D546-4E17-BC4A-EE213DD5A99F}" dt="2024-09-14T05:32:47.093" v="910" actId="27614"/>
          <ac:picMkLst>
            <pc:docMk/>
            <pc:sldMk cId="2340944189" sldId="2147375607"/>
            <ac:picMk id="6" creationId="{8A9DC4D5-2047-92FE-CA07-8983F44804E8}"/>
          </ac:picMkLst>
        </pc:picChg>
        <pc:picChg chg="del">
          <ac:chgData name="Dhruw, Kabir SBOBNG-PTIV/LC" userId="b937d6d8-898d-4cbe-9fd6-c82dbbaafd5f" providerId="ADAL" clId="{67EC033C-D546-4E17-BC4A-EE213DD5A99F}" dt="2024-09-14T05:32:32.247" v="907" actId="478"/>
          <ac:picMkLst>
            <pc:docMk/>
            <pc:sldMk cId="2340944189" sldId="2147375607"/>
            <ac:picMk id="15" creationId="{4CE535EE-6BF1-0FAD-300B-E8A6BD485577}"/>
          </ac:picMkLst>
        </pc:picChg>
      </pc:sldChg>
      <pc:sldChg chg="addSp delSp modSp mod">
        <pc:chgData name="Dhruw, Kabir SBOBNG-PTIV/LC" userId="b937d6d8-898d-4cbe-9fd6-c82dbbaafd5f" providerId="ADAL" clId="{67EC033C-D546-4E17-BC4A-EE213DD5A99F}" dt="2024-09-14T05:33:48.003" v="918" actId="1076"/>
        <pc:sldMkLst>
          <pc:docMk/>
          <pc:sldMk cId="3159148252" sldId="2147375608"/>
        </pc:sldMkLst>
        <pc:spChg chg="mod">
          <ac:chgData name="Dhruw, Kabir SBOBNG-PTIV/LC" userId="b937d6d8-898d-4cbe-9fd6-c82dbbaafd5f" providerId="ADAL" clId="{67EC033C-D546-4E17-BC4A-EE213DD5A99F}" dt="2024-09-14T03:36:44.921" v="47"/>
          <ac:spMkLst>
            <pc:docMk/>
            <pc:sldMk cId="3159148252" sldId="2147375608"/>
            <ac:spMk id="11" creationId="{DE9F1BE0-7910-FA1B-DCE8-56EFD1E4FC09}"/>
          </ac:spMkLst>
        </pc:spChg>
        <pc:picChg chg="add mod">
          <ac:chgData name="Dhruw, Kabir SBOBNG-PTIV/LC" userId="b937d6d8-898d-4cbe-9fd6-c82dbbaafd5f" providerId="ADAL" clId="{67EC033C-D546-4E17-BC4A-EE213DD5A99F}" dt="2024-09-14T05:33:48.003" v="918" actId="1076"/>
          <ac:picMkLst>
            <pc:docMk/>
            <pc:sldMk cId="3159148252" sldId="2147375608"/>
            <ac:picMk id="6" creationId="{17165E6C-3683-865D-F866-9F3D936D7070}"/>
          </ac:picMkLst>
        </pc:picChg>
        <pc:picChg chg="del">
          <ac:chgData name="Dhruw, Kabir SBOBNG-PTIV/LC" userId="b937d6d8-898d-4cbe-9fd6-c82dbbaafd5f" providerId="ADAL" clId="{67EC033C-D546-4E17-BC4A-EE213DD5A99F}" dt="2024-09-14T05:33:27.842" v="911" actId="478"/>
          <ac:picMkLst>
            <pc:docMk/>
            <pc:sldMk cId="3159148252" sldId="2147375608"/>
            <ac:picMk id="8" creationId="{A002F3C6-1A0F-18B0-4A5E-3C61A4353DAB}"/>
          </ac:picMkLst>
        </pc:picChg>
      </pc:sldChg>
      <pc:sldChg chg="addSp delSp modSp mod">
        <pc:chgData name="Dhruw, Kabir SBOBNG-PTIV/LC" userId="b937d6d8-898d-4cbe-9fd6-c82dbbaafd5f" providerId="ADAL" clId="{67EC033C-D546-4E17-BC4A-EE213DD5A99F}" dt="2024-09-14T05:34:48.435" v="927" actId="14100"/>
        <pc:sldMkLst>
          <pc:docMk/>
          <pc:sldMk cId="3070204084" sldId="2147375609"/>
        </pc:sldMkLst>
        <pc:spChg chg="mod">
          <ac:chgData name="Dhruw, Kabir SBOBNG-PTIV/LC" userId="b937d6d8-898d-4cbe-9fd6-c82dbbaafd5f" providerId="ADAL" clId="{67EC033C-D546-4E17-BC4A-EE213DD5A99F}" dt="2024-09-14T05:23:50.647" v="463" actId="33524"/>
          <ac:spMkLst>
            <pc:docMk/>
            <pc:sldMk cId="3070204084" sldId="2147375609"/>
            <ac:spMk id="11" creationId="{DE9F1BE0-7910-FA1B-DCE8-56EFD1E4FC09}"/>
          </ac:spMkLst>
        </pc:spChg>
        <pc:picChg chg="add mod">
          <ac:chgData name="Dhruw, Kabir SBOBNG-PTIV/LC" userId="b937d6d8-898d-4cbe-9fd6-c82dbbaafd5f" providerId="ADAL" clId="{67EC033C-D546-4E17-BC4A-EE213DD5A99F}" dt="2024-09-14T05:34:48.435" v="927" actId="14100"/>
          <ac:picMkLst>
            <pc:docMk/>
            <pc:sldMk cId="3070204084" sldId="2147375609"/>
            <ac:picMk id="6" creationId="{DDE175A1-EE97-5218-DD25-EC259AE717CA}"/>
          </ac:picMkLst>
        </pc:picChg>
        <pc:picChg chg="del">
          <ac:chgData name="Dhruw, Kabir SBOBNG-PTIV/LC" userId="b937d6d8-898d-4cbe-9fd6-c82dbbaafd5f" providerId="ADAL" clId="{67EC033C-D546-4E17-BC4A-EE213DD5A99F}" dt="2024-09-14T05:34:29.109" v="919" actId="478"/>
          <ac:picMkLst>
            <pc:docMk/>
            <pc:sldMk cId="3070204084" sldId="2147375609"/>
            <ac:picMk id="8" creationId="{847966B5-9783-50DC-3EA7-76F34F25ACCC}"/>
          </ac:picMkLst>
        </pc:picChg>
      </pc:sldChg>
      <pc:sldChg chg="modSp mod">
        <pc:chgData name="Dhruw, Kabir SBOBNG-PTIV/LC" userId="b937d6d8-898d-4cbe-9fd6-c82dbbaafd5f" providerId="ADAL" clId="{67EC033C-D546-4E17-BC4A-EE213DD5A99F}" dt="2024-09-14T05:24:33.199" v="620" actId="20577"/>
        <pc:sldMkLst>
          <pc:docMk/>
          <pc:sldMk cId="3754613224" sldId="2147375611"/>
        </pc:sldMkLst>
        <pc:spChg chg="mod">
          <ac:chgData name="Dhruw, Kabir SBOBNG-PTIV/LC" userId="b937d6d8-898d-4cbe-9fd6-c82dbbaafd5f" providerId="ADAL" clId="{67EC033C-D546-4E17-BC4A-EE213DD5A99F}" dt="2024-09-14T05:24:24.114" v="588" actId="20577"/>
          <ac:spMkLst>
            <pc:docMk/>
            <pc:sldMk cId="3754613224" sldId="2147375611"/>
            <ac:spMk id="18" creationId="{6C73795A-BE20-7075-E9C6-6F145CE60794}"/>
          </ac:spMkLst>
        </pc:spChg>
        <pc:spChg chg="mod">
          <ac:chgData name="Dhruw, Kabir SBOBNG-PTIV/LC" userId="b937d6d8-898d-4cbe-9fd6-c82dbbaafd5f" providerId="ADAL" clId="{67EC033C-D546-4E17-BC4A-EE213DD5A99F}" dt="2024-09-14T05:24:33.199" v="620" actId="20577"/>
          <ac:spMkLst>
            <pc:docMk/>
            <pc:sldMk cId="3754613224" sldId="2147375611"/>
            <ac:spMk id="19" creationId="{A3E2F4D1-4417-E244-3DB9-A6FF5866A342}"/>
          </ac:spMkLst>
        </pc:spChg>
      </pc:sldChg>
      <pc:sldChg chg="addSp delSp modSp mod">
        <pc:chgData name="Dhruw, Kabir SBOBNG-PTIV/LC" userId="b937d6d8-898d-4cbe-9fd6-c82dbbaafd5f" providerId="ADAL" clId="{67EC033C-D546-4E17-BC4A-EE213DD5A99F}" dt="2024-09-14T05:38:39.185" v="972" actId="20577"/>
        <pc:sldMkLst>
          <pc:docMk/>
          <pc:sldMk cId="1148838763" sldId="2147375613"/>
        </pc:sldMkLst>
        <pc:spChg chg="mod">
          <ac:chgData name="Dhruw, Kabir SBOBNG-PTIV/LC" userId="b937d6d8-898d-4cbe-9fd6-c82dbbaafd5f" providerId="ADAL" clId="{67EC033C-D546-4E17-BC4A-EE213DD5A99F}" dt="2024-09-14T05:38:39.185" v="972" actId="20577"/>
          <ac:spMkLst>
            <pc:docMk/>
            <pc:sldMk cId="1148838763" sldId="2147375613"/>
            <ac:spMk id="11" creationId="{8CC1343B-2E39-FEFF-8FF6-46822F18B432}"/>
          </ac:spMkLst>
        </pc:spChg>
        <pc:picChg chg="add mod">
          <ac:chgData name="Dhruw, Kabir SBOBNG-PTIV/LC" userId="b937d6d8-898d-4cbe-9fd6-c82dbbaafd5f" providerId="ADAL" clId="{67EC033C-D546-4E17-BC4A-EE213DD5A99F}" dt="2024-09-14T05:38:19.275" v="936" actId="962"/>
          <ac:picMkLst>
            <pc:docMk/>
            <pc:sldMk cId="1148838763" sldId="2147375613"/>
            <ac:picMk id="6" creationId="{A63B6D08-5F93-98B5-80F1-6140288BD14C}"/>
          </ac:picMkLst>
        </pc:picChg>
        <pc:picChg chg="del">
          <ac:chgData name="Dhruw, Kabir SBOBNG-PTIV/LC" userId="b937d6d8-898d-4cbe-9fd6-c82dbbaafd5f" providerId="ADAL" clId="{67EC033C-D546-4E17-BC4A-EE213DD5A99F}" dt="2024-09-14T05:38:06.339" v="931" actId="478"/>
          <ac:picMkLst>
            <pc:docMk/>
            <pc:sldMk cId="1148838763" sldId="2147375613"/>
            <ac:picMk id="8" creationId="{8D66E228-C2CB-D0A5-ACA3-06AC6CC9CF55}"/>
          </ac:picMkLst>
        </pc:picChg>
      </pc:sldChg>
      <pc:sldChg chg="modSp mod">
        <pc:chgData name="Dhruw, Kabir SBOBNG-PTIV/LC" userId="b937d6d8-898d-4cbe-9fd6-c82dbbaafd5f" providerId="ADAL" clId="{67EC033C-D546-4E17-BC4A-EE213DD5A99F}" dt="2024-09-14T05:37:33.105" v="930" actId="20577"/>
        <pc:sldMkLst>
          <pc:docMk/>
          <pc:sldMk cId="3865850111" sldId="2147375614"/>
        </pc:sldMkLst>
        <pc:spChg chg="mod">
          <ac:chgData name="Dhruw, Kabir SBOBNG-PTIV/LC" userId="b937d6d8-898d-4cbe-9fd6-c82dbbaafd5f" providerId="ADAL" clId="{67EC033C-D546-4E17-BC4A-EE213DD5A99F}" dt="2024-09-14T05:37:33.105" v="930" actId="20577"/>
          <ac:spMkLst>
            <pc:docMk/>
            <pc:sldMk cId="3865850111" sldId="2147375614"/>
            <ac:spMk id="6" creationId="{AC2F88D2-81D4-FAD4-568E-A3F495B06411}"/>
          </ac:spMkLst>
        </pc:sp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Dhruw, Kabir SBOBNG-PTIV/LC" userId="b937d6d8-898d-4cbe-9fd6-c82dbbaafd5f" providerId="ADAL" clId="{7CD428B9-A6FB-4AE1-9E17-165E06B1D93B}"/>
    <pc:docChg chg="modSld">
      <pc:chgData name="Dhruw, Kabir SBOBNG-PTIV/LC" userId="b937d6d8-898d-4cbe-9fd6-c82dbbaafd5f" providerId="ADAL" clId="{7CD428B9-A6FB-4AE1-9E17-165E06B1D93B}" dt="2024-09-04T03:30:59.021" v="66" actId="27614"/>
      <pc:docMkLst>
        <pc:docMk/>
      </pc:docMkLst>
      <pc:sldChg chg="addSp modSp mod">
        <pc:chgData name="Dhruw, Kabir SBOBNG-PTIV/LC" userId="b937d6d8-898d-4cbe-9fd6-c82dbbaafd5f" providerId="ADAL" clId="{7CD428B9-A6FB-4AE1-9E17-165E06B1D93B}" dt="2024-09-04T03:25:12.993" v="39" actId="27614"/>
        <pc:sldMkLst>
          <pc:docMk/>
          <pc:sldMk cId="867832184" sldId="2147375589"/>
        </pc:sldMkLst>
        <pc:spChg chg="mod">
          <ac:chgData name="Dhruw, Kabir SBOBNG-PTIV/LC" userId="b937d6d8-898d-4cbe-9fd6-c82dbbaafd5f" providerId="ADAL" clId="{7CD428B9-A6FB-4AE1-9E17-165E06B1D93B}" dt="2024-09-04T03:24:57.705" v="36" actId="20577"/>
          <ac:spMkLst>
            <pc:docMk/>
            <pc:sldMk cId="867832184" sldId="2147375589"/>
            <ac:spMk id="11" creationId="{CE0DDF5F-FE47-F9A2-FE84-53B63DFF494D}"/>
          </ac:spMkLst>
        </pc:spChg>
        <pc:picChg chg="add mod">
          <ac:chgData name="Dhruw, Kabir SBOBNG-PTIV/LC" userId="b937d6d8-898d-4cbe-9fd6-c82dbbaafd5f" providerId="ADAL" clId="{7CD428B9-A6FB-4AE1-9E17-165E06B1D93B}" dt="2024-09-04T03:25:12.993" v="39" actId="27614"/>
          <ac:picMkLst>
            <pc:docMk/>
            <pc:sldMk cId="867832184" sldId="2147375589"/>
            <ac:picMk id="6" creationId="{4A3D4E05-3D4B-8744-B7E9-1D94B9A47855}"/>
          </ac:picMkLst>
        </pc:picChg>
      </pc:sldChg>
      <pc:sldChg chg="addSp modSp mod">
        <pc:chgData name="Dhruw, Kabir SBOBNG-PTIV/LC" userId="b937d6d8-898d-4cbe-9fd6-c82dbbaafd5f" providerId="ADAL" clId="{7CD428B9-A6FB-4AE1-9E17-165E06B1D93B}" dt="2024-08-31T06:13:54.287" v="7" actId="14100"/>
        <pc:sldMkLst>
          <pc:docMk/>
          <pc:sldMk cId="245881457" sldId="2147375597"/>
        </pc:sldMkLst>
        <pc:spChg chg="mod">
          <ac:chgData name="Dhruw, Kabir SBOBNG-PTIV/LC" userId="b937d6d8-898d-4cbe-9fd6-c82dbbaafd5f" providerId="ADAL" clId="{7CD428B9-A6FB-4AE1-9E17-165E06B1D93B}" dt="2024-08-31T06:13:33.366" v="1" actId="20577"/>
          <ac:spMkLst>
            <pc:docMk/>
            <pc:sldMk cId="245881457" sldId="2147375597"/>
            <ac:spMk id="12" creationId="{E53E5C3F-4D2B-B85F-E592-E58E032C664C}"/>
          </ac:spMkLst>
        </pc:spChg>
        <pc:picChg chg="add mod">
          <ac:chgData name="Dhruw, Kabir SBOBNG-PTIV/LC" userId="b937d6d8-898d-4cbe-9fd6-c82dbbaafd5f" providerId="ADAL" clId="{7CD428B9-A6FB-4AE1-9E17-165E06B1D93B}" dt="2024-08-31T06:13:54.287" v="7" actId="14100"/>
          <ac:picMkLst>
            <pc:docMk/>
            <pc:sldMk cId="245881457" sldId="2147375597"/>
            <ac:picMk id="5" creationId="{6858F8FC-974D-5DF8-44AE-06F9793C8BDE}"/>
          </ac:picMkLst>
        </pc:picChg>
      </pc:sldChg>
      <pc:sldChg chg="addSp modSp mod">
        <pc:chgData name="Dhruw, Kabir SBOBNG-PTIV/LC" userId="b937d6d8-898d-4cbe-9fd6-c82dbbaafd5f" providerId="ADAL" clId="{7CD428B9-A6FB-4AE1-9E17-165E06B1D93B}" dt="2024-08-31T06:14:29.933" v="14" actId="962"/>
        <pc:sldMkLst>
          <pc:docMk/>
          <pc:sldMk cId="1181112711" sldId="2147375600"/>
        </pc:sldMkLst>
        <pc:spChg chg="mod">
          <ac:chgData name="Dhruw, Kabir SBOBNG-PTIV/LC" userId="b937d6d8-898d-4cbe-9fd6-c82dbbaafd5f" providerId="ADAL" clId="{7CD428B9-A6FB-4AE1-9E17-165E06B1D93B}" dt="2024-08-31T06:13:59.993" v="9" actId="20577"/>
          <ac:spMkLst>
            <pc:docMk/>
            <pc:sldMk cId="1181112711" sldId="2147375600"/>
            <ac:spMk id="12" creationId="{E53E5C3F-4D2B-B85F-E592-E58E032C664C}"/>
          </ac:spMkLst>
        </pc:spChg>
        <pc:picChg chg="add mod">
          <ac:chgData name="Dhruw, Kabir SBOBNG-PTIV/LC" userId="b937d6d8-898d-4cbe-9fd6-c82dbbaafd5f" providerId="ADAL" clId="{7CD428B9-A6FB-4AE1-9E17-165E06B1D93B}" dt="2024-08-31T06:14:29.933" v="14" actId="962"/>
          <ac:picMkLst>
            <pc:docMk/>
            <pc:sldMk cId="1181112711" sldId="2147375600"/>
            <ac:picMk id="5" creationId="{BE907506-5494-B495-E60C-0D93B4CAB467}"/>
          </ac:picMkLst>
        </pc:picChg>
      </pc:sldChg>
      <pc:sldChg chg="addSp modSp mod">
        <pc:chgData name="Dhruw, Kabir SBOBNG-PTIV/LC" userId="b937d6d8-898d-4cbe-9fd6-c82dbbaafd5f" providerId="ADAL" clId="{7CD428B9-A6FB-4AE1-9E17-165E06B1D93B}" dt="2024-08-31T06:15:07.289" v="22" actId="14100"/>
        <pc:sldMkLst>
          <pc:docMk/>
          <pc:sldMk cId="3233747587" sldId="2147375601"/>
        </pc:sldMkLst>
        <pc:spChg chg="mod">
          <ac:chgData name="Dhruw, Kabir SBOBNG-PTIV/LC" userId="b937d6d8-898d-4cbe-9fd6-c82dbbaafd5f" providerId="ADAL" clId="{7CD428B9-A6FB-4AE1-9E17-165E06B1D93B}" dt="2024-08-31T06:14:52.317" v="16" actId="20577"/>
          <ac:spMkLst>
            <pc:docMk/>
            <pc:sldMk cId="3233747587" sldId="2147375601"/>
            <ac:spMk id="12" creationId="{E53E5C3F-4D2B-B85F-E592-E58E032C664C}"/>
          </ac:spMkLst>
        </pc:spChg>
        <pc:picChg chg="add mod">
          <ac:chgData name="Dhruw, Kabir SBOBNG-PTIV/LC" userId="b937d6d8-898d-4cbe-9fd6-c82dbbaafd5f" providerId="ADAL" clId="{7CD428B9-A6FB-4AE1-9E17-165E06B1D93B}" dt="2024-08-31T06:15:07.289" v="22" actId="14100"/>
          <ac:picMkLst>
            <pc:docMk/>
            <pc:sldMk cId="3233747587" sldId="2147375601"/>
            <ac:picMk id="5" creationId="{F3493A1B-AE08-0EDA-1ABE-21F31FEB06E8}"/>
          </ac:picMkLst>
        </pc:picChg>
      </pc:sldChg>
      <pc:sldChg chg="addSp modSp mod">
        <pc:chgData name="Dhruw, Kabir SBOBNG-PTIV/LC" userId="b937d6d8-898d-4cbe-9fd6-c82dbbaafd5f" providerId="ADAL" clId="{7CD428B9-A6FB-4AE1-9E17-165E06B1D93B}" dt="2024-08-31T06:17:04.121" v="35" actId="962"/>
        <pc:sldMkLst>
          <pc:docMk/>
          <pc:sldMk cId="3971512377" sldId="2147375603"/>
        </pc:sldMkLst>
        <pc:spChg chg="mod">
          <ac:chgData name="Dhruw, Kabir SBOBNG-PTIV/LC" userId="b937d6d8-898d-4cbe-9fd6-c82dbbaafd5f" providerId="ADAL" clId="{7CD428B9-A6FB-4AE1-9E17-165E06B1D93B}" dt="2024-08-31T06:16:30.577" v="30" actId="20577"/>
          <ac:spMkLst>
            <pc:docMk/>
            <pc:sldMk cId="3971512377" sldId="2147375603"/>
            <ac:spMk id="12" creationId="{E53E5C3F-4D2B-B85F-E592-E58E032C664C}"/>
          </ac:spMkLst>
        </pc:spChg>
        <pc:picChg chg="add mod">
          <ac:chgData name="Dhruw, Kabir SBOBNG-PTIV/LC" userId="b937d6d8-898d-4cbe-9fd6-c82dbbaafd5f" providerId="ADAL" clId="{7CD428B9-A6FB-4AE1-9E17-165E06B1D93B}" dt="2024-08-31T06:17:04.121" v="35" actId="962"/>
          <ac:picMkLst>
            <pc:docMk/>
            <pc:sldMk cId="3971512377" sldId="2147375603"/>
            <ac:picMk id="6" creationId="{1CE31728-1DAF-DAD1-0C8D-B93E9FB13EA8}"/>
          </ac:picMkLst>
        </pc:picChg>
      </pc:sldChg>
      <pc:sldChg chg="addSp modSp mod">
        <pc:chgData name="Dhruw, Kabir SBOBNG-PTIV/LC" userId="b937d6d8-898d-4cbe-9fd6-c82dbbaafd5f" providerId="ADAL" clId="{7CD428B9-A6FB-4AE1-9E17-165E06B1D93B}" dt="2024-09-04T03:26:26.232" v="47" actId="1076"/>
        <pc:sldMkLst>
          <pc:docMk/>
          <pc:sldMk cId="3179805674" sldId="2147375604"/>
        </pc:sldMkLst>
        <pc:spChg chg="mod">
          <ac:chgData name="Dhruw, Kabir SBOBNG-PTIV/LC" userId="b937d6d8-898d-4cbe-9fd6-c82dbbaafd5f" providerId="ADAL" clId="{7CD428B9-A6FB-4AE1-9E17-165E06B1D93B}" dt="2024-09-04T03:26:08.748" v="40" actId="20577"/>
          <ac:spMkLst>
            <pc:docMk/>
            <pc:sldMk cId="3179805674" sldId="2147375604"/>
            <ac:spMk id="12" creationId="{E53E5C3F-4D2B-B85F-E592-E58E032C664C}"/>
          </ac:spMkLst>
        </pc:spChg>
        <pc:picChg chg="add mod">
          <ac:chgData name="Dhruw, Kabir SBOBNG-PTIV/LC" userId="b937d6d8-898d-4cbe-9fd6-c82dbbaafd5f" providerId="ADAL" clId="{7CD428B9-A6FB-4AE1-9E17-165E06B1D93B}" dt="2024-09-04T03:26:26.232" v="47" actId="1076"/>
          <ac:picMkLst>
            <pc:docMk/>
            <pc:sldMk cId="3179805674" sldId="2147375604"/>
            <ac:picMk id="6" creationId="{29E78300-98C3-E163-6145-FB5C9F74B18B}"/>
          </ac:picMkLst>
        </pc:picChg>
      </pc:sldChg>
      <pc:sldChg chg="addSp modSp mod">
        <pc:chgData name="Dhruw, Kabir SBOBNG-PTIV/LC" userId="b937d6d8-898d-4cbe-9fd6-c82dbbaafd5f" providerId="ADAL" clId="{7CD428B9-A6FB-4AE1-9E17-165E06B1D93B}" dt="2024-09-04T03:27:08.456" v="51" actId="27614"/>
        <pc:sldMkLst>
          <pc:docMk/>
          <pc:sldMk cId="86366928" sldId="2147375605"/>
        </pc:sldMkLst>
        <pc:spChg chg="mod">
          <ac:chgData name="Dhruw, Kabir SBOBNG-PTIV/LC" userId="b937d6d8-898d-4cbe-9fd6-c82dbbaafd5f" providerId="ADAL" clId="{7CD428B9-A6FB-4AE1-9E17-165E06B1D93B}" dt="2024-09-04T03:26:32.103" v="48" actId="20577"/>
          <ac:spMkLst>
            <pc:docMk/>
            <pc:sldMk cId="86366928" sldId="2147375605"/>
            <ac:spMk id="12" creationId="{E53E5C3F-4D2B-B85F-E592-E58E032C664C}"/>
          </ac:spMkLst>
        </pc:spChg>
        <pc:picChg chg="add mod">
          <ac:chgData name="Dhruw, Kabir SBOBNG-PTIV/LC" userId="b937d6d8-898d-4cbe-9fd6-c82dbbaafd5f" providerId="ADAL" clId="{7CD428B9-A6FB-4AE1-9E17-165E06B1D93B}" dt="2024-09-04T03:27:08.456" v="51" actId="27614"/>
          <ac:picMkLst>
            <pc:docMk/>
            <pc:sldMk cId="86366928" sldId="2147375605"/>
            <ac:picMk id="6" creationId="{D312A917-7B74-8A70-0956-E55184C9B353}"/>
          </ac:picMkLst>
        </pc:picChg>
      </pc:sldChg>
      <pc:sldChg chg="addSp modSp mod">
        <pc:chgData name="Dhruw, Kabir SBOBNG-PTIV/LC" userId="b937d6d8-898d-4cbe-9fd6-c82dbbaafd5f" providerId="ADAL" clId="{7CD428B9-A6FB-4AE1-9E17-165E06B1D93B}" dt="2024-09-04T03:28:00.794" v="57" actId="962"/>
        <pc:sldMkLst>
          <pc:docMk/>
          <pc:sldMk cId="2340944189" sldId="2147375607"/>
        </pc:sldMkLst>
        <pc:spChg chg="mod">
          <ac:chgData name="Dhruw, Kabir SBOBNG-PTIV/LC" userId="b937d6d8-898d-4cbe-9fd6-c82dbbaafd5f" providerId="ADAL" clId="{7CD428B9-A6FB-4AE1-9E17-165E06B1D93B}" dt="2024-09-04T03:27:12.563" v="52" actId="20577"/>
          <ac:spMkLst>
            <pc:docMk/>
            <pc:sldMk cId="2340944189" sldId="2147375607"/>
            <ac:spMk id="12" creationId="{E53E5C3F-4D2B-B85F-E592-E58E032C664C}"/>
          </ac:spMkLst>
        </pc:spChg>
        <pc:picChg chg="add mod">
          <ac:chgData name="Dhruw, Kabir SBOBNG-PTIV/LC" userId="b937d6d8-898d-4cbe-9fd6-c82dbbaafd5f" providerId="ADAL" clId="{7CD428B9-A6FB-4AE1-9E17-165E06B1D93B}" dt="2024-09-04T03:28:00.794" v="57" actId="962"/>
          <ac:picMkLst>
            <pc:docMk/>
            <pc:sldMk cId="2340944189" sldId="2147375607"/>
            <ac:picMk id="6" creationId="{9D6EC348-F4AC-D87E-FE28-FAD3879E3758}"/>
          </ac:picMkLst>
        </pc:picChg>
      </pc:sldChg>
      <pc:sldChg chg="addSp modSp mod">
        <pc:chgData name="Dhruw, Kabir SBOBNG-PTIV/LC" userId="b937d6d8-898d-4cbe-9fd6-c82dbbaafd5f" providerId="ADAL" clId="{7CD428B9-A6FB-4AE1-9E17-165E06B1D93B}" dt="2024-09-04T03:29:59.237" v="62" actId="27614"/>
        <pc:sldMkLst>
          <pc:docMk/>
          <pc:sldMk cId="3159148252" sldId="2147375608"/>
        </pc:sldMkLst>
        <pc:spChg chg="mod">
          <ac:chgData name="Dhruw, Kabir SBOBNG-PTIV/LC" userId="b937d6d8-898d-4cbe-9fd6-c82dbbaafd5f" providerId="ADAL" clId="{7CD428B9-A6FB-4AE1-9E17-165E06B1D93B}" dt="2024-09-04T03:28:06.218" v="59" actId="20577"/>
          <ac:spMkLst>
            <pc:docMk/>
            <pc:sldMk cId="3159148252" sldId="2147375608"/>
            <ac:spMk id="12" creationId="{E53E5C3F-4D2B-B85F-E592-E58E032C664C}"/>
          </ac:spMkLst>
        </pc:spChg>
        <pc:picChg chg="add mod">
          <ac:chgData name="Dhruw, Kabir SBOBNG-PTIV/LC" userId="b937d6d8-898d-4cbe-9fd6-c82dbbaafd5f" providerId="ADAL" clId="{7CD428B9-A6FB-4AE1-9E17-165E06B1D93B}" dt="2024-09-04T03:29:59.237" v="62" actId="27614"/>
          <ac:picMkLst>
            <pc:docMk/>
            <pc:sldMk cId="3159148252" sldId="2147375608"/>
            <ac:picMk id="6" creationId="{DAD5B57C-A853-7630-2294-A0A39F8F53F0}"/>
          </ac:picMkLst>
        </pc:picChg>
      </pc:sldChg>
      <pc:sldChg chg="addSp modSp mod">
        <pc:chgData name="Dhruw, Kabir SBOBNG-PTIV/LC" userId="b937d6d8-898d-4cbe-9fd6-c82dbbaafd5f" providerId="ADAL" clId="{7CD428B9-A6FB-4AE1-9E17-165E06B1D93B}" dt="2024-09-04T03:30:59.021" v="66" actId="27614"/>
        <pc:sldMkLst>
          <pc:docMk/>
          <pc:sldMk cId="3070204084" sldId="2147375609"/>
        </pc:sldMkLst>
        <pc:spChg chg="mod">
          <ac:chgData name="Dhruw, Kabir SBOBNG-PTIV/LC" userId="b937d6d8-898d-4cbe-9fd6-c82dbbaafd5f" providerId="ADAL" clId="{7CD428B9-A6FB-4AE1-9E17-165E06B1D93B}" dt="2024-09-04T03:30:01.807" v="63" actId="20577"/>
          <ac:spMkLst>
            <pc:docMk/>
            <pc:sldMk cId="3070204084" sldId="2147375609"/>
            <ac:spMk id="12" creationId="{E53E5C3F-4D2B-B85F-E592-E58E032C664C}"/>
          </ac:spMkLst>
        </pc:spChg>
        <pc:picChg chg="add mod">
          <ac:chgData name="Dhruw, Kabir SBOBNG-PTIV/LC" userId="b937d6d8-898d-4cbe-9fd6-c82dbbaafd5f" providerId="ADAL" clId="{7CD428B9-A6FB-4AE1-9E17-165E06B1D93B}" dt="2024-09-04T03:30:59.021" v="66" actId="27614"/>
          <ac:picMkLst>
            <pc:docMk/>
            <pc:sldMk cId="3070204084" sldId="2147375609"/>
            <ac:picMk id="6" creationId="{F3B66E1F-6365-1F7D-BE6B-C77A3676057E}"/>
          </ac:picMkLst>
        </pc:picChg>
      </pc:sldChg>
      <pc:sldChg chg="addSp modSp mod">
        <pc:chgData name="Dhruw, Kabir SBOBNG-PTIV/LC" userId="b937d6d8-898d-4cbe-9fd6-c82dbbaafd5f" providerId="ADAL" clId="{7CD428B9-A6FB-4AE1-9E17-165E06B1D93B}" dt="2024-08-31T06:15:51.787" v="29" actId="962"/>
        <pc:sldMkLst>
          <pc:docMk/>
          <pc:sldMk cId="1148838763" sldId="2147375613"/>
        </pc:sldMkLst>
        <pc:spChg chg="mod">
          <ac:chgData name="Dhruw, Kabir SBOBNG-PTIV/LC" userId="b937d6d8-898d-4cbe-9fd6-c82dbbaafd5f" providerId="ADAL" clId="{7CD428B9-A6FB-4AE1-9E17-165E06B1D93B}" dt="2024-08-31T06:15:23.591" v="24" actId="20577"/>
          <ac:spMkLst>
            <pc:docMk/>
            <pc:sldMk cId="1148838763" sldId="2147375613"/>
            <ac:spMk id="12" creationId="{5A873A1A-E63F-91AE-7D43-ED0F86870147}"/>
          </ac:spMkLst>
        </pc:spChg>
        <pc:picChg chg="add mod">
          <ac:chgData name="Dhruw, Kabir SBOBNG-PTIV/LC" userId="b937d6d8-898d-4cbe-9fd6-c82dbbaafd5f" providerId="ADAL" clId="{7CD428B9-A6FB-4AE1-9E17-165E06B1D93B}" dt="2024-08-31T06:15:51.787" v="29" actId="962"/>
          <ac:picMkLst>
            <pc:docMk/>
            <pc:sldMk cId="1148838763" sldId="2147375613"/>
            <ac:picMk id="6" creationId="{B843856E-5A86-5ED8-ECC4-8DBEDF5F271B}"/>
          </ac:picMkLst>
        </pc:picChg>
      </pc:sldChg>
    </pc:docChg>
  </pc:docChgLst>
  <pc:docChgLst>
    <pc:chgData name="Dhruw, Kabir SBOBNG-PTIV/LC" userId="b937d6d8-898d-4cbe-9fd6-c82dbbaafd5f" providerId="ADAL" clId="{56150486-AB01-472F-808C-CB0EC5E64382}"/>
    <pc:docChg chg="undo custSel modSld">
      <pc:chgData name="Dhruw, Kabir SBOBNG-PTIV/LC" userId="b937d6d8-898d-4cbe-9fd6-c82dbbaafd5f" providerId="ADAL" clId="{56150486-AB01-472F-808C-CB0EC5E64382}" dt="2024-09-06T12:45:04.462" v="1039" actId="20577"/>
      <pc:docMkLst>
        <pc:docMk/>
      </pc:docMkLst>
      <pc:sldChg chg="modSp mod">
        <pc:chgData name="Dhruw, Kabir SBOBNG-PTIV/LC" userId="b937d6d8-898d-4cbe-9fd6-c82dbbaafd5f" providerId="ADAL" clId="{56150486-AB01-472F-808C-CB0EC5E64382}" dt="2024-09-04T03:47:32.767" v="10" actId="20577"/>
        <pc:sldMkLst>
          <pc:docMk/>
          <pc:sldMk cId="3267775274" sldId="256"/>
        </pc:sldMkLst>
        <pc:spChg chg="mod">
          <ac:chgData name="Dhruw, Kabir SBOBNG-PTIV/LC" userId="b937d6d8-898d-4cbe-9fd6-c82dbbaafd5f" providerId="ADAL" clId="{56150486-AB01-472F-808C-CB0EC5E64382}" dt="2024-09-04T03:47:32.767" v="10" actId="20577"/>
          <ac:spMkLst>
            <pc:docMk/>
            <pc:sldMk cId="3267775274" sldId="256"/>
            <ac:spMk id="13" creationId="{C48F8DD6-A1B3-8126-FAC3-218B712C7FFB}"/>
          </ac:spMkLst>
        </pc:spChg>
      </pc:sldChg>
      <pc:sldChg chg="addSp delSp modSp mod">
        <pc:chgData name="Dhruw, Kabir SBOBNG-PTIV/LC" userId="b937d6d8-898d-4cbe-9fd6-c82dbbaafd5f" providerId="ADAL" clId="{56150486-AB01-472F-808C-CB0EC5E64382}" dt="2024-09-06T12:43:35.006" v="1025" actId="962"/>
        <pc:sldMkLst>
          <pc:docMk/>
          <pc:sldMk cId="245881457" sldId="2147375597"/>
        </pc:sldMkLst>
        <pc:spChg chg="mod">
          <ac:chgData name="Dhruw, Kabir SBOBNG-PTIV/LC" userId="b937d6d8-898d-4cbe-9fd6-c82dbbaafd5f" providerId="ADAL" clId="{56150486-AB01-472F-808C-CB0EC5E64382}" dt="2024-09-04T03:47:43.751" v="12" actId="20577"/>
          <ac:spMkLst>
            <pc:docMk/>
            <pc:sldMk cId="245881457" sldId="2147375597"/>
            <ac:spMk id="3" creationId="{CEA128C4-A0BC-A895-713C-306E7FF62894}"/>
          </ac:spMkLst>
        </pc:spChg>
        <pc:spChg chg="mod">
          <ac:chgData name="Dhruw, Kabir SBOBNG-PTIV/LC" userId="b937d6d8-898d-4cbe-9fd6-c82dbbaafd5f" providerId="ADAL" clId="{56150486-AB01-472F-808C-CB0EC5E64382}" dt="2024-09-06T12:22:13.757" v="35"/>
          <ac:spMkLst>
            <pc:docMk/>
            <pc:sldMk cId="245881457" sldId="2147375597"/>
            <ac:spMk id="11" creationId="{DE9F1BE0-7910-FA1B-DCE8-56EFD1E4FC09}"/>
          </ac:spMkLst>
        </pc:spChg>
        <pc:picChg chg="add mod">
          <ac:chgData name="Dhruw, Kabir SBOBNG-PTIV/LC" userId="b937d6d8-898d-4cbe-9fd6-c82dbbaafd5f" providerId="ADAL" clId="{56150486-AB01-472F-808C-CB0EC5E64382}" dt="2024-09-06T12:43:35.006" v="1025" actId="962"/>
          <ac:picMkLst>
            <pc:docMk/>
            <pc:sldMk cId="245881457" sldId="2147375597"/>
            <ac:picMk id="5" creationId="{162204CB-E4F8-52CC-1A9A-4CDE87E130AB}"/>
          </ac:picMkLst>
        </pc:picChg>
        <pc:picChg chg="del">
          <ac:chgData name="Dhruw, Kabir SBOBNG-PTIV/LC" userId="b937d6d8-898d-4cbe-9fd6-c82dbbaafd5f" providerId="ADAL" clId="{56150486-AB01-472F-808C-CB0EC5E64382}" dt="2024-09-04T03:47:38.961" v="11" actId="478"/>
          <ac:picMkLst>
            <pc:docMk/>
            <pc:sldMk cId="245881457" sldId="2147375597"/>
            <ac:picMk id="5" creationId="{6858F8FC-974D-5DF8-44AE-06F9793C8BDE}"/>
          </ac:picMkLst>
        </pc:picChg>
      </pc:sldChg>
      <pc:sldChg chg="addSp delSp modSp mod">
        <pc:chgData name="Dhruw, Kabir SBOBNG-PTIV/LC" userId="b937d6d8-898d-4cbe-9fd6-c82dbbaafd5f" providerId="ADAL" clId="{56150486-AB01-472F-808C-CB0EC5E64382}" dt="2024-09-06T12:44:40.364" v="1038" actId="20577"/>
        <pc:sldMkLst>
          <pc:docMk/>
          <pc:sldMk cId="1181112711" sldId="2147375600"/>
        </pc:sldMkLst>
        <pc:spChg chg="mod">
          <ac:chgData name="Dhruw, Kabir SBOBNG-PTIV/LC" userId="b937d6d8-898d-4cbe-9fd6-c82dbbaafd5f" providerId="ADAL" clId="{56150486-AB01-472F-808C-CB0EC5E64382}" dt="2024-09-06T12:44:40.364" v="1038" actId="20577"/>
          <ac:spMkLst>
            <pc:docMk/>
            <pc:sldMk cId="1181112711" sldId="2147375600"/>
            <ac:spMk id="3" creationId="{CEA128C4-A0BC-A895-713C-306E7FF62894}"/>
          </ac:spMkLst>
        </pc:spChg>
        <pc:spChg chg="mod">
          <ac:chgData name="Dhruw, Kabir SBOBNG-PTIV/LC" userId="b937d6d8-898d-4cbe-9fd6-c82dbbaafd5f" providerId="ADAL" clId="{56150486-AB01-472F-808C-CB0EC5E64382}" dt="2024-09-06T12:23:09.895" v="40"/>
          <ac:spMkLst>
            <pc:docMk/>
            <pc:sldMk cId="1181112711" sldId="2147375600"/>
            <ac:spMk id="11" creationId="{DE9F1BE0-7910-FA1B-DCE8-56EFD1E4FC09}"/>
          </ac:spMkLst>
        </pc:spChg>
        <pc:picChg chg="del">
          <ac:chgData name="Dhruw, Kabir SBOBNG-PTIV/LC" userId="b937d6d8-898d-4cbe-9fd6-c82dbbaafd5f" providerId="ADAL" clId="{56150486-AB01-472F-808C-CB0EC5E64382}" dt="2024-09-06T12:43:37.362" v="1026" actId="478"/>
          <ac:picMkLst>
            <pc:docMk/>
            <pc:sldMk cId="1181112711" sldId="2147375600"/>
            <ac:picMk id="5" creationId="{BE907506-5494-B495-E60C-0D93B4CAB467}"/>
          </ac:picMkLst>
        </pc:picChg>
        <pc:picChg chg="add mod">
          <ac:chgData name="Dhruw, Kabir SBOBNG-PTIV/LC" userId="b937d6d8-898d-4cbe-9fd6-c82dbbaafd5f" providerId="ADAL" clId="{56150486-AB01-472F-808C-CB0EC5E64382}" dt="2024-09-06T12:44:05.018" v="1030" actId="27614"/>
          <ac:picMkLst>
            <pc:docMk/>
            <pc:sldMk cId="1181112711" sldId="2147375600"/>
            <ac:picMk id="6" creationId="{BBDCB883-410E-1C62-8185-C4BD8BAC1567}"/>
          </ac:picMkLst>
        </pc:picChg>
      </pc:sldChg>
      <pc:sldChg chg="addSp delSp modSp mod">
        <pc:chgData name="Dhruw, Kabir SBOBNG-PTIV/LC" userId="b937d6d8-898d-4cbe-9fd6-c82dbbaafd5f" providerId="ADAL" clId="{56150486-AB01-472F-808C-CB0EC5E64382}" dt="2024-09-06T12:44:36.097" v="1037" actId="20577"/>
        <pc:sldMkLst>
          <pc:docMk/>
          <pc:sldMk cId="3233747587" sldId="2147375601"/>
        </pc:sldMkLst>
        <pc:spChg chg="mod">
          <ac:chgData name="Dhruw, Kabir SBOBNG-PTIV/LC" userId="b937d6d8-898d-4cbe-9fd6-c82dbbaafd5f" providerId="ADAL" clId="{56150486-AB01-472F-808C-CB0EC5E64382}" dt="2024-09-06T12:44:36.097" v="1037" actId="20577"/>
          <ac:spMkLst>
            <pc:docMk/>
            <pc:sldMk cId="3233747587" sldId="2147375601"/>
            <ac:spMk id="3" creationId="{CEA128C4-A0BC-A895-713C-306E7FF62894}"/>
          </ac:spMkLst>
        </pc:spChg>
        <pc:spChg chg="mod">
          <ac:chgData name="Dhruw, Kabir SBOBNG-PTIV/LC" userId="b937d6d8-898d-4cbe-9fd6-c82dbbaafd5f" providerId="ADAL" clId="{56150486-AB01-472F-808C-CB0EC5E64382}" dt="2024-09-06T12:24:44.159" v="50" actId="403"/>
          <ac:spMkLst>
            <pc:docMk/>
            <pc:sldMk cId="3233747587" sldId="2147375601"/>
            <ac:spMk id="11" creationId="{DE9F1BE0-7910-FA1B-DCE8-56EFD1E4FC09}"/>
          </ac:spMkLst>
        </pc:spChg>
        <pc:picChg chg="del">
          <ac:chgData name="Dhruw, Kabir SBOBNG-PTIV/LC" userId="b937d6d8-898d-4cbe-9fd6-c82dbbaafd5f" providerId="ADAL" clId="{56150486-AB01-472F-808C-CB0EC5E64382}" dt="2024-09-06T12:44:19.999" v="1031" actId="478"/>
          <ac:picMkLst>
            <pc:docMk/>
            <pc:sldMk cId="3233747587" sldId="2147375601"/>
            <ac:picMk id="5" creationId="{F3493A1B-AE08-0EDA-1ABE-21F31FEB06E8}"/>
          </ac:picMkLst>
        </pc:picChg>
        <pc:picChg chg="add mod">
          <ac:chgData name="Dhruw, Kabir SBOBNG-PTIV/LC" userId="b937d6d8-898d-4cbe-9fd6-c82dbbaafd5f" providerId="ADAL" clId="{56150486-AB01-472F-808C-CB0EC5E64382}" dt="2024-09-06T12:44:33.997" v="1035" actId="27614"/>
          <ac:picMkLst>
            <pc:docMk/>
            <pc:sldMk cId="3233747587" sldId="2147375601"/>
            <ac:picMk id="6" creationId="{D6F6AD89-CF3B-68D2-FCBD-86484A89336D}"/>
          </ac:picMkLst>
        </pc:picChg>
      </pc:sldChg>
      <pc:sldChg chg="addSp delSp modSp mod">
        <pc:chgData name="Dhruw, Kabir SBOBNG-PTIV/LC" userId="b937d6d8-898d-4cbe-9fd6-c82dbbaafd5f" providerId="ADAL" clId="{56150486-AB01-472F-808C-CB0EC5E64382}" dt="2024-09-06T12:42:59.497" v="1020" actId="962"/>
        <pc:sldMkLst>
          <pc:docMk/>
          <pc:sldMk cId="3971512377" sldId="2147375603"/>
        </pc:sldMkLst>
        <pc:spChg chg="mod">
          <ac:chgData name="Dhruw, Kabir SBOBNG-PTIV/LC" userId="b937d6d8-898d-4cbe-9fd6-c82dbbaafd5f" providerId="ADAL" clId="{56150486-AB01-472F-808C-CB0EC5E64382}" dt="2024-09-06T12:25:42.885" v="55" actId="404"/>
          <ac:spMkLst>
            <pc:docMk/>
            <pc:sldMk cId="3971512377" sldId="2147375603"/>
            <ac:spMk id="11" creationId="{DE9F1BE0-7910-FA1B-DCE8-56EFD1E4FC09}"/>
          </ac:spMkLst>
        </pc:spChg>
        <pc:picChg chg="del">
          <ac:chgData name="Dhruw, Kabir SBOBNG-PTIV/LC" userId="b937d6d8-898d-4cbe-9fd6-c82dbbaafd5f" providerId="ADAL" clId="{56150486-AB01-472F-808C-CB0EC5E64382}" dt="2024-09-06T12:41:50.488" v="1010" actId="478"/>
          <ac:picMkLst>
            <pc:docMk/>
            <pc:sldMk cId="3971512377" sldId="2147375603"/>
            <ac:picMk id="6" creationId="{1CE31728-1DAF-DAD1-0C8D-B93E9FB13EA8}"/>
          </ac:picMkLst>
        </pc:picChg>
        <pc:picChg chg="add mod">
          <ac:chgData name="Dhruw, Kabir SBOBNG-PTIV/LC" userId="b937d6d8-898d-4cbe-9fd6-c82dbbaafd5f" providerId="ADAL" clId="{56150486-AB01-472F-808C-CB0EC5E64382}" dt="2024-09-06T12:42:59.497" v="1020" actId="962"/>
          <ac:picMkLst>
            <pc:docMk/>
            <pc:sldMk cId="3971512377" sldId="2147375603"/>
            <ac:picMk id="8" creationId="{D9CF7C67-8A12-AFF3-BD7C-A58B2FEA357B}"/>
          </ac:picMkLst>
        </pc:picChg>
      </pc:sldChg>
      <pc:sldChg chg="addSp delSp modSp mod">
        <pc:chgData name="Dhruw, Kabir SBOBNG-PTIV/LC" userId="b937d6d8-898d-4cbe-9fd6-c82dbbaafd5f" providerId="ADAL" clId="{56150486-AB01-472F-808C-CB0EC5E64382}" dt="2024-09-06T12:41:47.843" v="1009" actId="962"/>
        <pc:sldMkLst>
          <pc:docMk/>
          <pc:sldMk cId="3179805674" sldId="2147375604"/>
        </pc:sldMkLst>
        <pc:spChg chg="mod">
          <ac:chgData name="Dhruw, Kabir SBOBNG-PTIV/LC" userId="b937d6d8-898d-4cbe-9fd6-c82dbbaafd5f" providerId="ADAL" clId="{56150486-AB01-472F-808C-CB0EC5E64382}" dt="2024-09-06T12:26:38.189" v="59"/>
          <ac:spMkLst>
            <pc:docMk/>
            <pc:sldMk cId="3179805674" sldId="2147375604"/>
            <ac:spMk id="11" creationId="{DE9F1BE0-7910-FA1B-DCE8-56EFD1E4FC09}"/>
          </ac:spMkLst>
        </pc:spChg>
        <pc:picChg chg="del">
          <ac:chgData name="Dhruw, Kabir SBOBNG-PTIV/LC" userId="b937d6d8-898d-4cbe-9fd6-c82dbbaafd5f" providerId="ADAL" clId="{56150486-AB01-472F-808C-CB0EC5E64382}" dt="2024-09-06T12:41:34.211" v="1004" actId="478"/>
          <ac:picMkLst>
            <pc:docMk/>
            <pc:sldMk cId="3179805674" sldId="2147375604"/>
            <ac:picMk id="6" creationId="{29E78300-98C3-E163-6145-FB5C9F74B18B}"/>
          </ac:picMkLst>
        </pc:picChg>
        <pc:picChg chg="add mod">
          <ac:chgData name="Dhruw, Kabir SBOBNG-PTIV/LC" userId="b937d6d8-898d-4cbe-9fd6-c82dbbaafd5f" providerId="ADAL" clId="{56150486-AB01-472F-808C-CB0EC5E64382}" dt="2024-09-06T12:41:47.843" v="1009" actId="962"/>
          <ac:picMkLst>
            <pc:docMk/>
            <pc:sldMk cId="3179805674" sldId="2147375604"/>
            <ac:picMk id="8" creationId="{C32D8F2D-7893-1160-0237-670673DDB4F9}"/>
          </ac:picMkLst>
        </pc:picChg>
      </pc:sldChg>
      <pc:sldChg chg="addSp delSp modSp mod">
        <pc:chgData name="Dhruw, Kabir SBOBNG-PTIV/LC" userId="b937d6d8-898d-4cbe-9fd6-c82dbbaafd5f" providerId="ADAL" clId="{56150486-AB01-472F-808C-CB0EC5E64382}" dt="2024-09-06T12:41:07.310" v="1003" actId="1076"/>
        <pc:sldMkLst>
          <pc:docMk/>
          <pc:sldMk cId="86366928" sldId="2147375605"/>
        </pc:sldMkLst>
        <pc:spChg chg="mod">
          <ac:chgData name="Dhruw, Kabir SBOBNG-PTIV/LC" userId="b937d6d8-898d-4cbe-9fd6-c82dbbaafd5f" providerId="ADAL" clId="{56150486-AB01-472F-808C-CB0EC5E64382}" dt="2024-09-06T12:27:17.461" v="69" actId="255"/>
          <ac:spMkLst>
            <pc:docMk/>
            <pc:sldMk cId="86366928" sldId="2147375605"/>
            <ac:spMk id="11" creationId="{DE9F1BE0-7910-FA1B-DCE8-56EFD1E4FC09}"/>
          </ac:spMkLst>
        </pc:spChg>
        <pc:picChg chg="del">
          <ac:chgData name="Dhruw, Kabir SBOBNG-PTIV/LC" userId="b937d6d8-898d-4cbe-9fd6-c82dbbaafd5f" providerId="ADAL" clId="{56150486-AB01-472F-808C-CB0EC5E64382}" dt="2024-09-06T12:40:49.085" v="995" actId="478"/>
          <ac:picMkLst>
            <pc:docMk/>
            <pc:sldMk cId="86366928" sldId="2147375605"/>
            <ac:picMk id="6" creationId="{D312A917-7B74-8A70-0956-E55184C9B353}"/>
          </ac:picMkLst>
        </pc:picChg>
        <pc:picChg chg="add mod">
          <ac:chgData name="Dhruw, Kabir SBOBNG-PTIV/LC" userId="b937d6d8-898d-4cbe-9fd6-c82dbbaafd5f" providerId="ADAL" clId="{56150486-AB01-472F-808C-CB0EC5E64382}" dt="2024-09-06T12:41:07.310" v="1003" actId="1076"/>
          <ac:picMkLst>
            <pc:docMk/>
            <pc:sldMk cId="86366928" sldId="2147375605"/>
            <ac:picMk id="8" creationId="{FD8D0771-6278-7EF2-130A-192ADC183937}"/>
          </ac:picMkLst>
        </pc:picChg>
      </pc:sldChg>
      <pc:sldChg chg="addSp delSp modSp mod">
        <pc:chgData name="Dhruw, Kabir SBOBNG-PTIV/LC" userId="b937d6d8-898d-4cbe-9fd6-c82dbbaafd5f" providerId="ADAL" clId="{56150486-AB01-472F-808C-CB0EC5E64382}" dt="2024-09-06T12:38:30.346" v="983" actId="1076"/>
        <pc:sldMkLst>
          <pc:docMk/>
          <pc:sldMk cId="2340944189" sldId="2147375607"/>
        </pc:sldMkLst>
        <pc:spChg chg="add del">
          <ac:chgData name="Dhruw, Kabir SBOBNG-PTIV/LC" userId="b937d6d8-898d-4cbe-9fd6-c82dbbaafd5f" providerId="ADAL" clId="{56150486-AB01-472F-808C-CB0EC5E64382}" dt="2024-09-06T12:37:40.842" v="975" actId="22"/>
          <ac:spMkLst>
            <pc:docMk/>
            <pc:sldMk cId="2340944189" sldId="2147375607"/>
            <ac:spMk id="8" creationId="{4F63EA52-BC82-4CE9-71DC-3FD476C55E02}"/>
          </ac:spMkLst>
        </pc:spChg>
        <pc:spChg chg="mod">
          <ac:chgData name="Dhruw, Kabir SBOBNG-PTIV/LC" userId="b937d6d8-898d-4cbe-9fd6-c82dbbaafd5f" providerId="ADAL" clId="{56150486-AB01-472F-808C-CB0EC5E64382}" dt="2024-09-06T12:28:40.069" v="238" actId="33524"/>
          <ac:spMkLst>
            <pc:docMk/>
            <pc:sldMk cId="2340944189" sldId="2147375607"/>
            <ac:spMk id="11" creationId="{DE9F1BE0-7910-FA1B-DCE8-56EFD1E4FC09}"/>
          </ac:spMkLst>
        </pc:spChg>
        <pc:picChg chg="del">
          <ac:chgData name="Dhruw, Kabir SBOBNG-PTIV/LC" userId="b937d6d8-898d-4cbe-9fd6-c82dbbaafd5f" providerId="ADAL" clId="{56150486-AB01-472F-808C-CB0EC5E64382}" dt="2024-09-06T12:37:11.479" v="973" actId="478"/>
          <ac:picMkLst>
            <pc:docMk/>
            <pc:sldMk cId="2340944189" sldId="2147375607"/>
            <ac:picMk id="6" creationId="{9D6EC348-F4AC-D87E-FE28-FAD3879E3758}"/>
          </ac:picMkLst>
        </pc:picChg>
        <pc:picChg chg="add del mod">
          <ac:chgData name="Dhruw, Kabir SBOBNG-PTIV/LC" userId="b937d6d8-898d-4cbe-9fd6-c82dbbaafd5f" providerId="ADAL" clId="{56150486-AB01-472F-808C-CB0EC5E64382}" dt="2024-09-06T12:37:51.080" v="977" actId="478"/>
          <ac:picMkLst>
            <pc:docMk/>
            <pc:sldMk cId="2340944189" sldId="2147375607"/>
            <ac:picMk id="13" creationId="{DBCC91E5-CAB7-78DC-A1D8-DB40F81F3F54}"/>
          </ac:picMkLst>
        </pc:picChg>
        <pc:picChg chg="add mod">
          <ac:chgData name="Dhruw, Kabir SBOBNG-PTIV/LC" userId="b937d6d8-898d-4cbe-9fd6-c82dbbaafd5f" providerId="ADAL" clId="{56150486-AB01-472F-808C-CB0EC5E64382}" dt="2024-09-06T12:38:30.346" v="983" actId="1076"/>
          <ac:picMkLst>
            <pc:docMk/>
            <pc:sldMk cId="2340944189" sldId="2147375607"/>
            <ac:picMk id="15" creationId="{4CE535EE-6BF1-0FAD-300B-E8A6BD485577}"/>
          </ac:picMkLst>
        </pc:picChg>
      </pc:sldChg>
      <pc:sldChg chg="addSp delSp modSp mod">
        <pc:chgData name="Dhruw, Kabir SBOBNG-PTIV/LC" userId="b937d6d8-898d-4cbe-9fd6-c82dbbaafd5f" providerId="ADAL" clId="{56150486-AB01-472F-808C-CB0EC5E64382}" dt="2024-09-06T12:39:40.012" v="988" actId="27614"/>
        <pc:sldMkLst>
          <pc:docMk/>
          <pc:sldMk cId="3159148252" sldId="2147375608"/>
        </pc:sldMkLst>
        <pc:spChg chg="mod">
          <ac:chgData name="Dhruw, Kabir SBOBNG-PTIV/LC" userId="b937d6d8-898d-4cbe-9fd6-c82dbbaafd5f" providerId="ADAL" clId="{56150486-AB01-472F-808C-CB0EC5E64382}" dt="2024-09-06T12:29:10.517" v="320" actId="20577"/>
          <ac:spMkLst>
            <pc:docMk/>
            <pc:sldMk cId="3159148252" sldId="2147375608"/>
            <ac:spMk id="11" creationId="{DE9F1BE0-7910-FA1B-DCE8-56EFD1E4FC09}"/>
          </ac:spMkLst>
        </pc:spChg>
        <pc:picChg chg="del">
          <ac:chgData name="Dhruw, Kabir SBOBNG-PTIV/LC" userId="b937d6d8-898d-4cbe-9fd6-c82dbbaafd5f" providerId="ADAL" clId="{56150486-AB01-472F-808C-CB0EC5E64382}" dt="2024-09-06T12:38:33.295" v="984" actId="478"/>
          <ac:picMkLst>
            <pc:docMk/>
            <pc:sldMk cId="3159148252" sldId="2147375608"/>
            <ac:picMk id="6" creationId="{DAD5B57C-A853-7630-2294-A0A39F8F53F0}"/>
          </ac:picMkLst>
        </pc:picChg>
        <pc:picChg chg="add mod">
          <ac:chgData name="Dhruw, Kabir SBOBNG-PTIV/LC" userId="b937d6d8-898d-4cbe-9fd6-c82dbbaafd5f" providerId="ADAL" clId="{56150486-AB01-472F-808C-CB0EC5E64382}" dt="2024-09-06T12:39:40.012" v="988" actId="27614"/>
          <ac:picMkLst>
            <pc:docMk/>
            <pc:sldMk cId="3159148252" sldId="2147375608"/>
            <ac:picMk id="8" creationId="{A002F3C6-1A0F-18B0-4A5E-3C61A4353DAB}"/>
          </ac:picMkLst>
        </pc:picChg>
      </pc:sldChg>
      <pc:sldChg chg="addSp delSp modSp mod">
        <pc:chgData name="Dhruw, Kabir SBOBNG-PTIV/LC" userId="b937d6d8-898d-4cbe-9fd6-c82dbbaafd5f" providerId="ADAL" clId="{56150486-AB01-472F-808C-CB0EC5E64382}" dt="2024-09-06T12:40:17.399" v="994" actId="1076"/>
        <pc:sldMkLst>
          <pc:docMk/>
          <pc:sldMk cId="3070204084" sldId="2147375609"/>
        </pc:sldMkLst>
        <pc:spChg chg="mod">
          <ac:chgData name="Dhruw, Kabir SBOBNG-PTIV/LC" userId="b937d6d8-898d-4cbe-9fd6-c82dbbaafd5f" providerId="ADAL" clId="{56150486-AB01-472F-808C-CB0EC5E64382}" dt="2024-09-06T12:30:14.766" v="552" actId="20577"/>
          <ac:spMkLst>
            <pc:docMk/>
            <pc:sldMk cId="3070204084" sldId="2147375609"/>
            <ac:spMk id="11" creationId="{DE9F1BE0-7910-FA1B-DCE8-56EFD1E4FC09}"/>
          </ac:spMkLst>
        </pc:spChg>
        <pc:picChg chg="del">
          <ac:chgData name="Dhruw, Kabir SBOBNG-PTIV/LC" userId="b937d6d8-898d-4cbe-9fd6-c82dbbaafd5f" providerId="ADAL" clId="{56150486-AB01-472F-808C-CB0EC5E64382}" dt="2024-09-06T12:39:42.086" v="989" actId="478"/>
          <ac:picMkLst>
            <pc:docMk/>
            <pc:sldMk cId="3070204084" sldId="2147375609"/>
            <ac:picMk id="6" creationId="{F3B66E1F-6365-1F7D-BE6B-C77A3676057E}"/>
          </ac:picMkLst>
        </pc:picChg>
        <pc:picChg chg="add mod">
          <ac:chgData name="Dhruw, Kabir SBOBNG-PTIV/LC" userId="b937d6d8-898d-4cbe-9fd6-c82dbbaafd5f" providerId="ADAL" clId="{56150486-AB01-472F-808C-CB0EC5E64382}" dt="2024-09-06T12:40:17.399" v="994" actId="1076"/>
          <ac:picMkLst>
            <pc:docMk/>
            <pc:sldMk cId="3070204084" sldId="2147375609"/>
            <ac:picMk id="8" creationId="{847966B5-9783-50DC-3EA7-76F34F25ACCC}"/>
          </ac:picMkLst>
        </pc:picChg>
      </pc:sldChg>
      <pc:sldChg chg="modSp mod">
        <pc:chgData name="Dhruw, Kabir SBOBNG-PTIV/LC" userId="b937d6d8-898d-4cbe-9fd6-c82dbbaafd5f" providerId="ADAL" clId="{56150486-AB01-472F-808C-CB0EC5E64382}" dt="2024-09-06T12:31:01.593" v="667" actId="20577"/>
        <pc:sldMkLst>
          <pc:docMk/>
          <pc:sldMk cId="3754613224" sldId="2147375611"/>
        </pc:sldMkLst>
        <pc:spChg chg="mod">
          <ac:chgData name="Dhruw, Kabir SBOBNG-PTIV/LC" userId="b937d6d8-898d-4cbe-9fd6-c82dbbaafd5f" providerId="ADAL" clId="{56150486-AB01-472F-808C-CB0EC5E64382}" dt="2024-09-06T12:31:01.593" v="667" actId="20577"/>
          <ac:spMkLst>
            <pc:docMk/>
            <pc:sldMk cId="3754613224" sldId="2147375611"/>
            <ac:spMk id="18" creationId="{6C73795A-BE20-7075-E9C6-6F145CE60794}"/>
          </ac:spMkLst>
        </pc:spChg>
        <pc:spChg chg="mod">
          <ac:chgData name="Dhruw, Kabir SBOBNG-PTIV/LC" userId="b937d6d8-898d-4cbe-9fd6-c82dbbaafd5f" providerId="ADAL" clId="{56150486-AB01-472F-808C-CB0EC5E64382}" dt="2024-09-06T12:30:34.852" v="592" actId="20577"/>
          <ac:spMkLst>
            <pc:docMk/>
            <pc:sldMk cId="3754613224" sldId="2147375611"/>
            <ac:spMk id="19" creationId="{A3E2F4D1-4417-E244-3DB9-A6FF5866A342}"/>
          </ac:spMkLst>
        </pc:spChg>
        <pc:spChg chg="mod">
          <ac:chgData name="Dhruw, Kabir SBOBNG-PTIV/LC" userId="b937d6d8-898d-4cbe-9fd6-c82dbbaafd5f" providerId="ADAL" clId="{56150486-AB01-472F-808C-CB0EC5E64382}" dt="2024-09-06T12:30:42.775" v="618" actId="20577"/>
          <ac:spMkLst>
            <pc:docMk/>
            <pc:sldMk cId="3754613224" sldId="2147375611"/>
            <ac:spMk id="20" creationId="{3EBEB0AC-D407-44FD-A74F-90F67F3D13C3}"/>
          </ac:spMkLst>
        </pc:spChg>
      </pc:sldChg>
      <pc:sldChg chg="addSp delSp modSp mod">
        <pc:chgData name="Dhruw, Kabir SBOBNG-PTIV/LC" userId="b937d6d8-898d-4cbe-9fd6-c82dbbaafd5f" providerId="ADAL" clId="{56150486-AB01-472F-808C-CB0EC5E64382}" dt="2024-09-06T12:45:04.462" v="1039" actId="20577"/>
        <pc:sldMkLst>
          <pc:docMk/>
          <pc:sldMk cId="1148838763" sldId="2147375613"/>
        </pc:sldMkLst>
        <pc:spChg chg="mod">
          <ac:chgData name="Dhruw, Kabir SBOBNG-PTIV/LC" userId="b937d6d8-898d-4cbe-9fd6-c82dbbaafd5f" providerId="ADAL" clId="{56150486-AB01-472F-808C-CB0EC5E64382}" dt="2024-09-06T12:45:04.462" v="1039" actId="20577"/>
          <ac:spMkLst>
            <pc:docMk/>
            <pc:sldMk cId="1148838763" sldId="2147375613"/>
            <ac:spMk id="11" creationId="{8CC1343B-2E39-FEFF-8FF6-46822F18B432}"/>
          </ac:spMkLst>
        </pc:spChg>
        <pc:picChg chg="del">
          <ac:chgData name="Dhruw, Kabir SBOBNG-PTIV/LC" userId="b937d6d8-898d-4cbe-9fd6-c82dbbaafd5f" providerId="ADAL" clId="{56150486-AB01-472F-808C-CB0EC5E64382}" dt="2024-09-06T12:42:15.828" v="1011" actId="478"/>
          <ac:picMkLst>
            <pc:docMk/>
            <pc:sldMk cId="1148838763" sldId="2147375613"/>
            <ac:picMk id="6" creationId="{B843856E-5A86-5ED8-ECC4-8DBEDF5F271B}"/>
          </ac:picMkLst>
        </pc:picChg>
        <pc:picChg chg="add mod">
          <ac:chgData name="Dhruw, Kabir SBOBNG-PTIV/LC" userId="b937d6d8-898d-4cbe-9fd6-c82dbbaafd5f" providerId="ADAL" clId="{56150486-AB01-472F-808C-CB0EC5E64382}" dt="2024-09-06T12:42:28.227" v="1015" actId="27614"/>
          <ac:picMkLst>
            <pc:docMk/>
            <pc:sldMk cId="1148838763" sldId="2147375613"/>
            <ac:picMk id="8" creationId="{8D66E228-C2CB-D0A5-ACA3-06AC6CC9CF55}"/>
          </ac:picMkLst>
        </pc:picChg>
      </pc:sldChg>
      <pc:sldChg chg="modSp mod">
        <pc:chgData name="Dhruw, Kabir SBOBNG-PTIV/LC" userId="b937d6d8-898d-4cbe-9fd6-c82dbbaafd5f" providerId="ADAL" clId="{56150486-AB01-472F-808C-CB0EC5E64382}" dt="2024-09-06T12:33:50.724" v="972"/>
        <pc:sldMkLst>
          <pc:docMk/>
          <pc:sldMk cId="3865850111" sldId="2147375614"/>
        </pc:sldMkLst>
        <pc:spChg chg="mod">
          <ac:chgData name="Dhruw, Kabir SBOBNG-PTIV/LC" userId="b937d6d8-898d-4cbe-9fd6-c82dbbaafd5f" providerId="ADAL" clId="{56150486-AB01-472F-808C-CB0EC5E64382}" dt="2024-09-06T12:33:50.724" v="972"/>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4/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abir Dhruw</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800" b="0" i="0" dirty="0">
                <a:solidFill>
                  <a:srgbClr val="111111"/>
                </a:solidFill>
                <a:effectLst/>
                <a:latin typeface="-apple-system"/>
              </a:rPr>
              <a:t>Azure Virtual Machines provide flexible compute power, Azure Virtual Network creates secure, customizable networks, and Azure Storage offers reliable data backup and analytics.</a:t>
            </a:r>
          </a:p>
          <a:p>
            <a:pPr marL="0" indent="0">
              <a:buNone/>
            </a:pPr>
            <a:r>
              <a:rPr lang="en-GB" sz="2800" b="0" i="0" dirty="0">
                <a:solidFill>
                  <a:srgbClr val="111111"/>
                </a:solidFill>
                <a:effectLst/>
                <a:latin typeface="-apple-system"/>
              </a:rPr>
              <a:t>Together, these services boost an organization’s efficiency, innovation, and security in the cloud.</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descr="A blue screen with white text&#10;&#10;Description automatically generated">
            <a:extLst>
              <a:ext uri="{FF2B5EF4-FFF2-40B4-BE49-F238E27FC236}">
                <a16:creationId xmlns:a16="http://schemas.microsoft.com/office/drawing/2014/main" id="{04F6F640-6064-D765-7B55-FFCDB157B0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6026" y="2116033"/>
            <a:ext cx="2959154" cy="356616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latin typeface="-apple-system"/>
              </a:rPr>
              <a:t>Implementing ITIL and ServiceNow can face challenges like resistance to change, skill gaps, integration complexities, and high costs. Proactive management of these issues is essential for achieving operational efficiency and improved service qualit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a company's value&#10;&#10;Description automatically generated">
            <a:extLst>
              <a:ext uri="{FF2B5EF4-FFF2-40B4-BE49-F238E27FC236}">
                <a16:creationId xmlns:a16="http://schemas.microsoft.com/office/drawing/2014/main" id="{8A9DC4D5-2047-92FE-CA07-8983F44804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212022"/>
            <a:ext cx="4514850" cy="357187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latin typeface="-apple-system"/>
              </a:rPr>
              <a:t>Implementing AWS EC2, S3, and VPC can be challenging due to cost management, ensuring robust security and compliance, and the complexity of integration with existing systems. Proactive management of these issues is essential to fully leverage the benefits of AWS service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17165E6C-3683-865D-F866-9F3D936D70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87159" y="2103651"/>
            <a:ext cx="5362647" cy="356616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visioning cloud services need at most care and constant monitoring to not generate unnecessary bill. Constant practice of monitoring all the running services and stopping them when not required is a constant challeng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a cloud computing&#10;&#10;Description automatically generated">
            <a:extLst>
              <a:ext uri="{FF2B5EF4-FFF2-40B4-BE49-F238E27FC236}">
                <a16:creationId xmlns:a16="http://schemas.microsoft.com/office/drawing/2014/main" id="{DDE175A1-EE97-5218-DD25-EC259AE717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8132" y="1963373"/>
            <a:ext cx="3973861" cy="3973861"/>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pend some more time on AWS and Azure dashboard and get myself more familiar with their offering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is task need constant practic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lready started learn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The frequency of hands-on is increased from the previous classes, I feel more motivated to attend the sessions </a:t>
            </a:r>
            <a:r>
              <a:rPr lang="en-US" sz="2000"/>
              <a:t>now.</a:t>
            </a: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person standing in front of a large screen&#10;&#10;Description automatically generated">
            <a:extLst>
              <a:ext uri="{FF2B5EF4-FFF2-40B4-BE49-F238E27FC236}">
                <a16:creationId xmlns:a16="http://schemas.microsoft.com/office/drawing/2014/main" id="{A63B6D08-5F93-98B5-80F1-6140288BD14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1639" y="2218858"/>
            <a:ext cx="4754880" cy="356616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GB" sz="2400" b="0" i="0" dirty="0">
                <a:solidFill>
                  <a:srgbClr val="111111"/>
                </a:solidFill>
                <a:effectLst/>
                <a:latin typeface="-apple-system"/>
              </a:rPr>
              <a:t>Implementing ITIL and ServiceNow helps align IT services with business goals, but challenges like resistance to change and integration complexities need proactive management. </a:t>
            </a:r>
          </a:p>
          <a:p>
            <a:pPr marL="457200" indent="-457200">
              <a:lnSpc>
                <a:spcPct val="100000"/>
              </a:lnSpc>
            </a:pPr>
            <a:r>
              <a:rPr lang="en-GB" sz="2400" b="0" i="0" dirty="0">
                <a:solidFill>
                  <a:srgbClr val="111111"/>
                </a:solidFill>
                <a:effectLst/>
                <a:latin typeface="-apple-system"/>
              </a:rPr>
              <a:t>AWS EC2, S3, and VPC enhance cloud scalability and security, though cost management and security are concerns. Similarly, Azure Virtual Machines, Virtual Network, and Storage boost efficiency and innovation, but integrating these services and managing costs can be challenging.</a:t>
            </a:r>
          </a:p>
          <a:p>
            <a:pPr marL="457200" indent="-457200">
              <a:lnSpc>
                <a:spcPct val="100000"/>
              </a:lnSpc>
            </a:pPr>
            <a:r>
              <a:rPr lang="en-GB" sz="2400" b="0" i="0" dirty="0">
                <a:solidFill>
                  <a:srgbClr val="111111"/>
                </a:solidFill>
                <a:effectLst/>
                <a:latin typeface="-apple-system"/>
              </a:rPr>
              <a:t> Continuous learning and adaptation are crucial for mastering these technologies.</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Chase excellence, Not perfecti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people putting their hands together&#10;&#10;Description automatically generated">
            <a:extLst>
              <a:ext uri="{FF2B5EF4-FFF2-40B4-BE49-F238E27FC236}">
                <a16:creationId xmlns:a16="http://schemas.microsoft.com/office/drawing/2014/main" id="{4A3D4E05-3D4B-8744-B7E9-1D94B9A478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4940" y="2536358"/>
            <a:ext cx="4162425" cy="26670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0" i="0" dirty="0">
                <a:solidFill>
                  <a:srgbClr val="111111"/>
                </a:solidFill>
                <a:effectLst/>
                <a:latin typeface="-apple-system"/>
              </a:rPr>
              <a:t>ITIL helps align IT services with business goals, ensuring that IT supports the overall strategy and operations of the organization. It provides a structured approach to managing IT services efficiently.</a:t>
            </a:r>
            <a:endParaRPr lang="en-US" sz="1800" b="0" i="0" dirty="0">
              <a:solidFill>
                <a:srgbClr val="111111"/>
              </a:solidFill>
              <a:effectLst/>
              <a:latin typeface="-apple-system"/>
            </a:endParaRPr>
          </a:p>
          <a:p>
            <a:r>
              <a:rPr lang="en-GB" sz="2000" b="0" i="0" dirty="0">
                <a:solidFill>
                  <a:srgbClr val="111111"/>
                </a:solidFill>
                <a:effectLst/>
                <a:latin typeface="-apple-system"/>
              </a:rPr>
              <a:t>ServiceNow automates and streamlines IT service management processes, making it easier to manage incidents, changes, and service requests. This leads to improved service quality and higher user satisfaction.</a:t>
            </a:r>
          </a:p>
          <a:p>
            <a:r>
              <a:rPr lang="en-GB" sz="2000" b="0" i="0" dirty="0">
                <a:solidFill>
                  <a:srgbClr val="111111"/>
                </a:solidFill>
                <a:effectLst/>
                <a:latin typeface="-apple-system"/>
              </a:rPr>
              <a:t>Both ITIL and ServiceNow emphasize the need for ongoing assessment and refinement of IT processe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service lifecycle&#10;&#10;Description automatically generated">
            <a:extLst>
              <a:ext uri="{FF2B5EF4-FFF2-40B4-BE49-F238E27FC236}">
                <a16:creationId xmlns:a16="http://schemas.microsoft.com/office/drawing/2014/main" id="{B12A6FFD-1111-2C35-02D3-14A1E6D0E8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60755" y="1983716"/>
            <a:ext cx="3830794" cy="383079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0" i="0" dirty="0">
                <a:solidFill>
                  <a:srgbClr val="111111"/>
                </a:solidFill>
                <a:effectLst/>
                <a:latin typeface="-apple-system"/>
              </a:rPr>
              <a:t>AWS EC2 provides scalable virtual servers, enabling flexible compute capacity for running applications. </a:t>
            </a:r>
          </a:p>
          <a:p>
            <a:r>
              <a:rPr lang="en-GB" sz="2400" b="0" i="0" dirty="0">
                <a:solidFill>
                  <a:srgbClr val="111111"/>
                </a:solidFill>
                <a:effectLst/>
                <a:latin typeface="-apple-system"/>
              </a:rPr>
              <a:t>AWS S3 offers secure, scalable object storage for data backup, archiving, and analytics. </a:t>
            </a:r>
          </a:p>
          <a:p>
            <a:r>
              <a:rPr lang="en-GB" sz="2400" b="0" i="0" dirty="0">
                <a:solidFill>
                  <a:srgbClr val="111111"/>
                </a:solidFill>
                <a:effectLst/>
                <a:latin typeface="-apple-system"/>
              </a:rPr>
              <a:t>AWS VPC allows the creation of isolated virtual networks, giving control over network configuration and secur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cloud computing diagram with icons&#10;&#10;Description automatically generated">
            <a:extLst>
              <a:ext uri="{FF2B5EF4-FFF2-40B4-BE49-F238E27FC236}">
                <a16:creationId xmlns:a16="http://schemas.microsoft.com/office/drawing/2014/main" id="{B60E5844-AC23-5657-09D9-6341F619D13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30863" y="2133600"/>
            <a:ext cx="3290578" cy="329057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0" i="0" dirty="0">
                <a:solidFill>
                  <a:srgbClr val="111111"/>
                </a:solidFill>
                <a:effectLst/>
                <a:latin typeface="-apple-system"/>
              </a:rPr>
              <a:t>Azure Virtual Machines provide scalable compute capacity, Azure Virtual Network ensures control over network configuration and security, and Azure Storage offers secure, scalable solutions for data backup and analytics. </a:t>
            </a:r>
          </a:p>
          <a:p>
            <a:r>
              <a:rPr lang="en-GB" sz="2000" b="0" i="0" dirty="0">
                <a:solidFill>
                  <a:srgbClr val="111111"/>
                </a:solidFill>
                <a:effectLst/>
                <a:latin typeface="-apple-system"/>
              </a:rPr>
              <a:t>Together, these services enhance an organization’s scalability, reliability, and security in the cloud.</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 name="Picture 12" descr="A diagram of software components&#10;&#10;Description automatically generated">
            <a:extLst>
              <a:ext uri="{FF2B5EF4-FFF2-40B4-BE49-F238E27FC236}">
                <a16:creationId xmlns:a16="http://schemas.microsoft.com/office/drawing/2014/main" id="{F631ECD4-C343-EC80-7637-CA51A4EE2A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0113" y="2621280"/>
            <a:ext cx="4946277" cy="2731867"/>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0" i="0" dirty="0">
                <a:solidFill>
                  <a:srgbClr val="111111"/>
                </a:solidFill>
                <a:effectLst/>
                <a:latin typeface="-apple-system"/>
              </a:rPr>
              <a:t>By aligning IT services with business objectives, ITIL ensures that IT supports the overall strategy and operations. This leads to more efficient service delivery, better resource management, and improved customer satisfaction.</a:t>
            </a:r>
          </a:p>
          <a:p>
            <a:r>
              <a:rPr lang="en-GB" sz="2000" b="0" i="0" dirty="0">
                <a:solidFill>
                  <a:srgbClr val="111111"/>
                </a:solidFill>
                <a:effectLst/>
                <a:latin typeface="-apple-system"/>
              </a:rPr>
              <a:t>ServiceNow automates IT service management processes, reducing manual effort and errors. This results in faster resolution of incidents, streamlined workflows, and enhanced service quality, which ultimately boosts productivity and user satisfac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service improvement process&#10;&#10;Description automatically generated">
            <a:extLst>
              <a:ext uri="{FF2B5EF4-FFF2-40B4-BE49-F238E27FC236}">
                <a16:creationId xmlns:a16="http://schemas.microsoft.com/office/drawing/2014/main" id="{BBCF33F2-F1F7-E59E-88F9-39A5881474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12229" y="2132115"/>
            <a:ext cx="5237577" cy="3624315"/>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800" b="0" i="0" dirty="0">
                <a:solidFill>
                  <a:srgbClr val="111111"/>
                </a:solidFill>
                <a:effectLst/>
                <a:latin typeface="-apple-system"/>
              </a:rPr>
              <a:t>AWS EC2 offers scalable compute capacity, AWS S3 provides secure storage, and AWS VPC ensures network control and security. Together, they enhance scalability, reliability, and security in the cloud.</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cloud provider services&#10;&#10;Description automatically generated">
            <a:extLst>
              <a:ext uri="{FF2B5EF4-FFF2-40B4-BE49-F238E27FC236}">
                <a16:creationId xmlns:a16="http://schemas.microsoft.com/office/drawing/2014/main" id="{A2758902-E56D-80E1-CA26-E87076C953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28596" y="2489199"/>
            <a:ext cx="5321210" cy="3124413"/>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890</TotalTime>
  <Words>706</Words>
  <Application>Microsoft Office PowerPoint</Application>
  <PresentationFormat>Widescreen</PresentationFormat>
  <Paragraphs>62</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vt:lpstr>
      <vt:lpstr>Learning 2 |</vt:lpstr>
      <vt:lpstr>Learning 3 |</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Dhruw, Kabir SBOBNG-PTIV/LC</cp:lastModifiedBy>
  <cp:revision>501</cp:revision>
  <dcterms:created xsi:type="dcterms:W3CDTF">2022-01-18T12:35:56Z</dcterms:created>
  <dcterms:modified xsi:type="dcterms:W3CDTF">2024-09-14T05:3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